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9.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0.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1.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3.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4.xml" ContentType="application/vnd.openxmlformats-officedocument.theme+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6.xml" ContentType="application/vnd.openxmlformats-officedocument.theme+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17.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8.xml" ContentType="application/vnd.openxmlformats-officedocument.theme+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9.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20.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21.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2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2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1" r:id="rId4"/>
    <p:sldMasterId id="2147483649" r:id="rId5"/>
    <p:sldMasterId id="2147484781" r:id="rId6"/>
    <p:sldMasterId id="2147484788" r:id="rId7"/>
    <p:sldMasterId id="2147484809" r:id="rId8"/>
    <p:sldMasterId id="2147484821" r:id="rId9"/>
    <p:sldMasterId id="2147484833" r:id="rId10"/>
    <p:sldMasterId id="2147484845" r:id="rId11"/>
    <p:sldMasterId id="2147484858" r:id="rId12"/>
    <p:sldMasterId id="2147484870" r:id="rId13"/>
    <p:sldMasterId id="2147484883" r:id="rId14"/>
    <p:sldMasterId id="2147484895" r:id="rId15"/>
    <p:sldMasterId id="2147484908" r:id="rId16"/>
    <p:sldMasterId id="2147484926" r:id="rId17"/>
    <p:sldMasterId id="2147484944" r:id="rId18"/>
    <p:sldMasterId id="2147484958" r:id="rId19"/>
    <p:sldMasterId id="2147484976" r:id="rId20"/>
    <p:sldMasterId id="2147484994" r:id="rId21"/>
    <p:sldMasterId id="2147485012" r:id="rId22"/>
    <p:sldMasterId id="2147485030" r:id="rId23"/>
    <p:sldMasterId id="2147485043" r:id="rId24"/>
    <p:sldMasterId id="2147485074" r:id="rId25"/>
    <p:sldMasterId id="2147485088" r:id="rId26"/>
    <p:sldMasterId id="2147485101" r:id="rId27"/>
  </p:sldMasterIdLst>
  <p:notesMasterIdLst>
    <p:notesMasterId r:id="rId42"/>
  </p:notesMasterIdLst>
  <p:sldIdLst>
    <p:sldId id="862" r:id="rId28"/>
    <p:sldId id="859" r:id="rId29"/>
    <p:sldId id="889" r:id="rId30"/>
    <p:sldId id="856" r:id="rId31"/>
    <p:sldId id="871" r:id="rId32"/>
    <p:sldId id="892" r:id="rId33"/>
    <p:sldId id="887" r:id="rId34"/>
    <p:sldId id="872" r:id="rId35"/>
    <p:sldId id="893" r:id="rId36"/>
    <p:sldId id="877" r:id="rId37"/>
    <p:sldId id="879" r:id="rId38"/>
    <p:sldId id="894" r:id="rId39"/>
    <p:sldId id="896" r:id="rId40"/>
    <p:sldId id="883" r:id="rId41"/>
  </p:sldIdLst>
  <p:sldSz cx="9144000" cy="6858000" type="screen4x3"/>
  <p:notesSz cx="6797675" cy="9928225"/>
  <p:custDataLst>
    <p:tags r:id="rId43"/>
  </p:custDataLst>
  <p:defaultTextStyle>
    <a:defPPr>
      <a:defRPr lang="en-US"/>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FD61F"/>
    <a:srgbClr val="F7E353"/>
    <a:srgbClr val="FFF90F"/>
    <a:srgbClr val="E6FD0B"/>
    <a:srgbClr val="D1DE2A"/>
    <a:srgbClr val="4F961E"/>
    <a:srgbClr val="41BC10"/>
    <a:srgbClr val="30B11B"/>
    <a:srgbClr val="17B5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09" autoAdjust="0"/>
    <p:restoredTop sz="91829" autoAdjust="0"/>
  </p:normalViewPr>
  <p:slideViewPr>
    <p:cSldViewPr snapToGrid="0">
      <p:cViewPr varScale="1">
        <p:scale>
          <a:sx n="67" d="100"/>
          <a:sy n="67" d="100"/>
        </p:scale>
        <p:origin x="-1662" y="-10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41"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inpuwfpa01\u554764$\Documents\PROJECTS\CORN%20-%20IN%20Strat\WORKING\Final%20Charts.xlsx"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Pt>
            <c:idx val="0"/>
            <c:bubble3D val="0"/>
            <c:spPr>
              <a:solidFill>
                <a:schemeClr val="accent1"/>
              </a:solidFill>
            </c:spPr>
          </c:dPt>
          <c:dPt>
            <c:idx val="1"/>
            <c:bubble3D val="0"/>
            <c:spPr>
              <a:solidFill>
                <a:schemeClr val="accent2"/>
              </a:solidFill>
            </c:spPr>
          </c:dPt>
          <c:dPt>
            <c:idx val="2"/>
            <c:bubble3D val="0"/>
            <c:spPr>
              <a:solidFill>
                <a:schemeClr val="accent3"/>
              </a:solidFill>
            </c:spPr>
          </c:dPt>
          <c:dPt>
            <c:idx val="3"/>
            <c:bubble3D val="0"/>
            <c:spPr>
              <a:solidFill>
                <a:schemeClr val="accent4"/>
              </a:solidFill>
            </c:spPr>
          </c:dPt>
          <c:dPt>
            <c:idx val="4"/>
            <c:bubble3D val="0"/>
            <c:spPr>
              <a:solidFill>
                <a:schemeClr val="accent5"/>
              </a:solidFill>
            </c:spPr>
          </c:dPt>
          <c:dPt>
            <c:idx val="5"/>
            <c:bubble3D val="0"/>
            <c:spPr>
              <a:solidFill>
                <a:schemeClr val="accent4">
                  <a:lumMod val="50000"/>
                </a:schemeClr>
              </a:solidFill>
            </c:spPr>
          </c:dPt>
          <c:dPt>
            <c:idx val="6"/>
            <c:bubble3D val="0"/>
            <c:spPr>
              <a:solidFill>
                <a:schemeClr val="tx1"/>
              </a:solidFill>
            </c:spPr>
          </c:dPt>
          <c:dPt>
            <c:idx val="7"/>
            <c:bubble3D val="0"/>
            <c:spPr>
              <a:solidFill>
                <a:schemeClr val="tx2"/>
              </a:solidFill>
            </c:spPr>
          </c:dPt>
          <c:dPt>
            <c:idx val="8"/>
            <c:bubble3D val="0"/>
            <c:spPr>
              <a:solidFill>
                <a:schemeClr val="accent5">
                  <a:lumMod val="60000"/>
                  <a:lumOff val="40000"/>
                </a:schemeClr>
              </a:solidFill>
            </c:spPr>
          </c:dPt>
          <c:cat>
            <c:strRef>
              <c:f>Sheet1!$A$2:$A$11</c:f>
              <c:strCache>
                <c:ptCount val="10"/>
                <c:pt idx="1">
                  <c:v>Specialty crops</c:v>
                </c:pt>
                <c:pt idx="2">
                  <c:v>Rice</c:v>
                </c:pt>
                <c:pt idx="3">
                  <c:v>Diverse field crops</c:v>
                </c:pt>
                <c:pt idx="4">
                  <c:v>Cereals</c:v>
                </c:pt>
                <c:pt idx="5">
                  <c:v>Corn</c:v>
                </c:pt>
                <c:pt idx="6">
                  <c:v>Sugar Cane</c:v>
                </c:pt>
                <c:pt idx="7">
                  <c:v>Soybean</c:v>
                </c:pt>
                <c:pt idx="8">
                  <c:v>Vegetables</c:v>
                </c:pt>
                <c:pt idx="9">
                  <c:v>Lawn and Garden</c:v>
                </c:pt>
              </c:strCache>
            </c:strRef>
          </c:cat>
          <c:val>
            <c:numRef>
              <c:f>Sheet1!$B$2:$B$11</c:f>
              <c:numCache>
                <c:formatCode>#,##0</c:formatCode>
                <c:ptCount val="10"/>
                <c:pt idx="0" formatCode="General">
                  <c:v>0</c:v>
                </c:pt>
                <c:pt idx="1">
                  <c:v>2004</c:v>
                </c:pt>
                <c:pt idx="2">
                  <c:v>653</c:v>
                </c:pt>
                <c:pt idx="3">
                  <c:v>1428</c:v>
                </c:pt>
                <c:pt idx="4">
                  <c:v>1772</c:v>
                </c:pt>
                <c:pt idx="5">
                  <c:v>3560</c:v>
                </c:pt>
                <c:pt idx="6">
                  <c:v>290</c:v>
                </c:pt>
                <c:pt idx="7">
                  <c:v>2577</c:v>
                </c:pt>
                <c:pt idx="8">
                  <c:v>1701</c:v>
                </c:pt>
                <c:pt idx="9">
                  <c:v>691</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33333333333334E-2"/>
          <c:y val="0"/>
          <c:w val="0.9633333333333336"/>
          <c:h val="0.81363555658485176"/>
        </c:manualLayout>
      </c:layout>
      <c:barChart>
        <c:barDir val="col"/>
        <c:grouping val="stacked"/>
        <c:varyColors val="0"/>
        <c:ser>
          <c:idx val="0"/>
          <c:order val="0"/>
          <c:tx>
            <c:strRef>
              <c:f>'Demand Drivers '!$B$1</c:f>
              <c:strCache>
                <c:ptCount val="1"/>
                <c:pt idx="0">
                  <c:v>Series 1 </c:v>
                </c:pt>
              </c:strCache>
            </c:strRef>
          </c:tx>
          <c:spPr>
            <a:noFill/>
          </c:spPr>
          <c:invertIfNegative val="0"/>
          <c:cat>
            <c:strRef>
              <c:f>'Demand Drivers '!$A$2:$A$9</c:f>
              <c:strCache>
                <c:ptCount val="8"/>
                <c:pt idx="0">
                  <c:v>2005</c:v>
                </c:pt>
                <c:pt idx="1">
                  <c:v>2010</c:v>
                </c:pt>
                <c:pt idx="2">
                  <c:v>urbanization</c:v>
                </c:pt>
                <c:pt idx="3">
                  <c:v>Population growth</c:v>
                </c:pt>
                <c:pt idx="4">
                  <c:v>GDP/capita growth</c:v>
                </c:pt>
                <c:pt idx="5">
                  <c:v>Population growth</c:v>
                </c:pt>
                <c:pt idx="6">
                  <c:v>GDP/capita growth</c:v>
                </c:pt>
                <c:pt idx="7">
                  <c:v>2020</c:v>
                </c:pt>
              </c:strCache>
            </c:strRef>
          </c:cat>
          <c:val>
            <c:numRef>
              <c:f>'Demand Drivers '!$B$2:$B$9</c:f>
              <c:numCache>
                <c:formatCode>General</c:formatCode>
                <c:ptCount val="8"/>
                <c:pt idx="2">
                  <c:v>19.600000000000001</c:v>
                </c:pt>
                <c:pt idx="3" formatCode="0.0">
                  <c:v>19.977</c:v>
                </c:pt>
                <c:pt idx="4" formatCode="0.0">
                  <c:v>21.455000000000002</c:v>
                </c:pt>
                <c:pt idx="5" formatCode="0.0">
                  <c:v>34.595000000000013</c:v>
                </c:pt>
                <c:pt idx="6" formatCode="0.0">
                  <c:v>35.413000000000004</c:v>
                </c:pt>
              </c:numCache>
            </c:numRef>
          </c:val>
        </c:ser>
        <c:ser>
          <c:idx val="1"/>
          <c:order val="1"/>
          <c:tx>
            <c:strRef>
              <c:f>'Demand Drivers '!$C$1</c:f>
              <c:strCache>
                <c:ptCount val="1"/>
                <c:pt idx="0">
                  <c:v>Food</c:v>
                </c:pt>
              </c:strCache>
            </c:strRef>
          </c:tx>
          <c:invertIfNegative val="0"/>
          <c:dLbls>
            <c:dLbl>
              <c:idx val="7"/>
              <c:spPr/>
              <c:txPr>
                <a:bodyPr/>
                <a:lstStyle/>
                <a:p>
                  <a:pPr>
                    <a:defRPr sz="1100" b="1">
                      <a:solidFill>
                        <a:schemeClr val="bg1"/>
                      </a:solidFill>
                    </a:defRPr>
                  </a:pPr>
                  <a:endParaRPr lang="en-US"/>
                </a:p>
              </c:txPr>
              <c:dLblPos val="inBase"/>
              <c:showLegendKey val="0"/>
              <c:showVal val="1"/>
              <c:showCatName val="0"/>
              <c:showSerName val="0"/>
              <c:showPercent val="0"/>
              <c:showBubbleSize val="0"/>
            </c:dLbl>
            <c:dLblPos val="inBase"/>
            <c:showLegendKey val="0"/>
            <c:showVal val="1"/>
            <c:showCatName val="0"/>
            <c:showSerName val="0"/>
            <c:showPercent val="0"/>
            <c:showBubbleSize val="0"/>
            <c:showLeaderLines val="0"/>
          </c:dLbls>
          <c:cat>
            <c:strRef>
              <c:f>'Demand Drivers '!$A$2:$A$9</c:f>
              <c:strCache>
                <c:ptCount val="8"/>
                <c:pt idx="0">
                  <c:v>2005</c:v>
                </c:pt>
                <c:pt idx="1">
                  <c:v>2010</c:v>
                </c:pt>
                <c:pt idx="2">
                  <c:v>urbanization</c:v>
                </c:pt>
                <c:pt idx="3">
                  <c:v>Population growth</c:v>
                </c:pt>
                <c:pt idx="4">
                  <c:v>GDP/capita growth</c:v>
                </c:pt>
                <c:pt idx="5">
                  <c:v>Population growth</c:v>
                </c:pt>
                <c:pt idx="6">
                  <c:v>GDP/capita growth</c:v>
                </c:pt>
                <c:pt idx="7">
                  <c:v>2020</c:v>
                </c:pt>
              </c:strCache>
            </c:strRef>
          </c:cat>
          <c:val>
            <c:numRef>
              <c:f>'Demand Drivers '!$C$2:$C$9</c:f>
              <c:numCache>
                <c:formatCode>General</c:formatCode>
                <c:ptCount val="8"/>
                <c:pt idx="0">
                  <c:v>5</c:v>
                </c:pt>
                <c:pt idx="1">
                  <c:v>6</c:v>
                </c:pt>
                <c:pt idx="5">
                  <c:v>0.81799999999999995</c:v>
                </c:pt>
                <c:pt idx="6">
                  <c:v>2.1519999999999997</c:v>
                </c:pt>
                <c:pt idx="7">
                  <c:v>8.9</c:v>
                </c:pt>
              </c:numCache>
            </c:numRef>
          </c:val>
        </c:ser>
        <c:ser>
          <c:idx val="2"/>
          <c:order val="2"/>
          <c:tx>
            <c:strRef>
              <c:f>'Demand Drivers '!$D$1</c:f>
              <c:strCache>
                <c:ptCount val="1"/>
                <c:pt idx="0">
                  <c:v>Feed</c:v>
                </c:pt>
              </c:strCache>
            </c:strRef>
          </c:tx>
          <c:spPr>
            <a:solidFill>
              <a:schemeClr val="accent1"/>
            </a:solidFill>
          </c:spPr>
          <c:invertIfNegative val="0"/>
          <c:dLbls>
            <c:dLbl>
              <c:idx val="0"/>
              <c:layout/>
              <c:spPr/>
              <c:txPr>
                <a:bodyPr/>
                <a:lstStyle/>
                <a:p>
                  <a:pPr>
                    <a:defRPr sz="1100" b="1">
                      <a:solidFill>
                        <a:schemeClr val="bg1"/>
                      </a:solidFill>
                    </a:defRPr>
                  </a:pPr>
                  <a:endParaRPr lang="en-US"/>
                </a:p>
              </c:txPr>
              <c:dLblPos val="ctr"/>
              <c:showLegendKey val="0"/>
              <c:showVal val="1"/>
              <c:showCatName val="0"/>
              <c:showSerName val="0"/>
              <c:showPercent val="0"/>
              <c:showBubbleSize val="0"/>
            </c:dLbl>
            <c:dLbl>
              <c:idx val="1"/>
              <c:layout/>
              <c:spPr/>
              <c:txPr>
                <a:bodyPr/>
                <a:lstStyle/>
                <a:p>
                  <a:pPr>
                    <a:defRPr sz="1100" b="1">
                      <a:solidFill>
                        <a:schemeClr val="bg1"/>
                      </a:solidFill>
                    </a:defRPr>
                  </a:pPr>
                  <a:endParaRPr lang="en-US"/>
                </a:p>
              </c:txPr>
              <c:dLblPos val="ctr"/>
              <c:showLegendKey val="0"/>
              <c:showVal val="1"/>
              <c:showCatName val="0"/>
              <c:showSerName val="0"/>
              <c:showPercent val="0"/>
              <c:showBubbleSize val="0"/>
            </c:dLbl>
            <c:dLbl>
              <c:idx val="4"/>
              <c:layout>
                <c:manualLayout>
                  <c:x val="-3.3333333333332741E-3"/>
                  <c:y val="-9.0090090090091945E-2"/>
                </c:manualLayout>
              </c:layout>
              <c:dLblPos val="ctr"/>
              <c:showLegendKey val="0"/>
              <c:showVal val="1"/>
              <c:showCatName val="0"/>
              <c:showSerName val="0"/>
              <c:showPercent val="0"/>
              <c:showBubbleSize val="0"/>
            </c:dLbl>
            <c:dLbl>
              <c:idx val="7"/>
              <c:layout/>
              <c:spPr/>
              <c:txPr>
                <a:bodyPr/>
                <a:lstStyle/>
                <a:p>
                  <a:pPr>
                    <a:defRPr sz="1100" b="1">
                      <a:solidFill>
                        <a:schemeClr val="bg1"/>
                      </a:solidFill>
                    </a:defRPr>
                  </a:pPr>
                  <a:endParaRPr lang="en-US"/>
                </a:p>
              </c:txPr>
              <c:dLblPos val="inEnd"/>
              <c:showLegendKey val="0"/>
              <c:showVal val="1"/>
              <c:showCatName val="0"/>
              <c:showSerName val="0"/>
              <c:showPercent val="0"/>
              <c:showBubbleSize val="0"/>
            </c:dLbl>
            <c:dLblPos val="inBase"/>
            <c:showLegendKey val="0"/>
            <c:showVal val="1"/>
            <c:showCatName val="0"/>
            <c:showSerName val="0"/>
            <c:showPercent val="0"/>
            <c:showBubbleSize val="0"/>
            <c:showLeaderLines val="0"/>
          </c:dLbls>
          <c:cat>
            <c:strRef>
              <c:f>'Demand Drivers '!$A$2:$A$9</c:f>
              <c:strCache>
                <c:ptCount val="8"/>
                <c:pt idx="0">
                  <c:v>2005</c:v>
                </c:pt>
                <c:pt idx="1">
                  <c:v>2010</c:v>
                </c:pt>
                <c:pt idx="2">
                  <c:v>urbanization</c:v>
                </c:pt>
                <c:pt idx="3">
                  <c:v>Population growth</c:v>
                </c:pt>
                <c:pt idx="4">
                  <c:v>GDP/capita growth</c:v>
                </c:pt>
                <c:pt idx="5">
                  <c:v>Population growth</c:v>
                </c:pt>
                <c:pt idx="6">
                  <c:v>GDP/capita growth</c:v>
                </c:pt>
                <c:pt idx="7">
                  <c:v>2020</c:v>
                </c:pt>
              </c:strCache>
            </c:strRef>
          </c:cat>
          <c:val>
            <c:numRef>
              <c:f>'Demand Drivers '!$D$2:$D$9</c:f>
              <c:numCache>
                <c:formatCode>General</c:formatCode>
                <c:ptCount val="8"/>
                <c:pt idx="0">
                  <c:v>10.8</c:v>
                </c:pt>
                <c:pt idx="1">
                  <c:v>13.6</c:v>
                </c:pt>
                <c:pt idx="2">
                  <c:v>0.3770000000000035</c:v>
                </c:pt>
                <c:pt idx="3">
                  <c:v>1.478</c:v>
                </c:pt>
                <c:pt idx="4">
                  <c:v>13.139999999999999</c:v>
                </c:pt>
                <c:pt idx="7">
                  <c:v>28.6</c:v>
                </c:pt>
              </c:numCache>
            </c:numRef>
          </c:val>
        </c:ser>
        <c:ser>
          <c:idx val="3"/>
          <c:order val="3"/>
          <c:tx>
            <c:strRef>
              <c:f>'Demand Drivers '!$E$1</c:f>
              <c:strCache>
                <c:ptCount val="1"/>
                <c:pt idx="0">
                  <c:v>Series 4</c:v>
                </c:pt>
              </c:strCache>
            </c:strRef>
          </c:tx>
          <c:invertIfNegative val="0"/>
          <c:cat>
            <c:strRef>
              <c:f>'Demand Drivers '!$A$2:$A$9</c:f>
              <c:strCache>
                <c:ptCount val="8"/>
                <c:pt idx="0">
                  <c:v>2005</c:v>
                </c:pt>
                <c:pt idx="1">
                  <c:v>2010</c:v>
                </c:pt>
                <c:pt idx="2">
                  <c:v>urbanization</c:v>
                </c:pt>
                <c:pt idx="3">
                  <c:v>Population growth</c:v>
                </c:pt>
                <c:pt idx="4">
                  <c:v>GDP/capita growth</c:v>
                </c:pt>
                <c:pt idx="5">
                  <c:v>Population growth</c:v>
                </c:pt>
                <c:pt idx="6">
                  <c:v>GDP/capita growth</c:v>
                </c:pt>
                <c:pt idx="7">
                  <c:v>2020</c:v>
                </c:pt>
              </c:strCache>
            </c:strRef>
          </c:cat>
          <c:val>
            <c:numRef>
              <c:f>'Demand Drivers '!$E$2:$E$9</c:f>
              <c:numCache>
                <c:formatCode>General</c:formatCode>
                <c:ptCount val="8"/>
              </c:numCache>
            </c:numRef>
          </c:val>
        </c:ser>
        <c:ser>
          <c:idx val="4"/>
          <c:order val="4"/>
          <c:tx>
            <c:strRef>
              <c:f>'Demand Drivers '!$F$1</c:f>
              <c:strCache>
                <c:ptCount val="1"/>
                <c:pt idx="0">
                  <c:v>Total</c:v>
                </c:pt>
              </c:strCache>
            </c:strRef>
          </c:tx>
          <c:spPr>
            <a:noFill/>
          </c:spPr>
          <c:invertIfNegative val="0"/>
          <c:dLbls>
            <c:txPr>
              <a:bodyPr/>
              <a:lstStyle/>
              <a:p>
                <a:pPr>
                  <a:defRPr sz="1050" b="1"/>
                </a:pPr>
                <a:endParaRPr lang="en-US"/>
              </a:p>
            </c:txPr>
            <c:dLblPos val="inBase"/>
            <c:showLegendKey val="0"/>
            <c:showVal val="1"/>
            <c:showCatName val="0"/>
            <c:showSerName val="0"/>
            <c:showPercent val="0"/>
            <c:showBubbleSize val="0"/>
            <c:showLeaderLines val="0"/>
          </c:dLbls>
          <c:cat>
            <c:strRef>
              <c:f>'Demand Drivers '!$A$2:$A$9</c:f>
              <c:strCache>
                <c:ptCount val="8"/>
                <c:pt idx="0">
                  <c:v>2005</c:v>
                </c:pt>
                <c:pt idx="1">
                  <c:v>2010</c:v>
                </c:pt>
                <c:pt idx="2">
                  <c:v>urbanization</c:v>
                </c:pt>
                <c:pt idx="3">
                  <c:v>Population growth</c:v>
                </c:pt>
                <c:pt idx="4">
                  <c:v>GDP/capita growth</c:v>
                </c:pt>
                <c:pt idx="5">
                  <c:v>Population growth</c:v>
                </c:pt>
                <c:pt idx="6">
                  <c:v>GDP/capita growth</c:v>
                </c:pt>
                <c:pt idx="7">
                  <c:v>2020</c:v>
                </c:pt>
              </c:strCache>
            </c:strRef>
          </c:cat>
          <c:val>
            <c:numRef>
              <c:f>'Demand Drivers '!$F$2:$F$9</c:f>
              <c:numCache>
                <c:formatCode>General</c:formatCode>
                <c:ptCount val="8"/>
                <c:pt idx="0">
                  <c:v>15.8</c:v>
                </c:pt>
                <c:pt idx="1">
                  <c:v>19.600000000000001</c:v>
                </c:pt>
                <c:pt idx="7">
                  <c:v>37.5</c:v>
                </c:pt>
              </c:numCache>
            </c:numRef>
          </c:val>
        </c:ser>
        <c:dLbls>
          <c:showLegendKey val="0"/>
          <c:showVal val="0"/>
          <c:showCatName val="0"/>
          <c:showSerName val="0"/>
          <c:showPercent val="0"/>
          <c:showBubbleSize val="0"/>
        </c:dLbls>
        <c:gapWidth val="150"/>
        <c:overlap val="100"/>
        <c:axId val="138789632"/>
        <c:axId val="138791168"/>
      </c:barChart>
      <c:catAx>
        <c:axId val="138789632"/>
        <c:scaling>
          <c:orientation val="minMax"/>
        </c:scaling>
        <c:delete val="0"/>
        <c:axPos val="b"/>
        <c:majorTickMark val="out"/>
        <c:minorTickMark val="none"/>
        <c:tickLblPos val="nextTo"/>
        <c:crossAx val="138791168"/>
        <c:crosses val="autoZero"/>
        <c:auto val="1"/>
        <c:lblAlgn val="ctr"/>
        <c:lblOffset val="100"/>
        <c:noMultiLvlLbl val="0"/>
      </c:catAx>
      <c:valAx>
        <c:axId val="138791168"/>
        <c:scaling>
          <c:orientation val="minMax"/>
        </c:scaling>
        <c:delete val="1"/>
        <c:axPos val="l"/>
        <c:numFmt formatCode="General" sourceLinked="1"/>
        <c:majorTickMark val="out"/>
        <c:minorTickMark val="none"/>
        <c:tickLblPos val="none"/>
        <c:crossAx val="138789632"/>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Net prod</c:v>
                </c:pt>
              </c:strCache>
            </c:strRef>
          </c:tx>
          <c:invertIfNegative val="0"/>
          <c:dLbls>
            <c:txPr>
              <a:bodyPr/>
              <a:lstStyle/>
              <a:p>
                <a:pPr>
                  <a:defRPr b="1">
                    <a:solidFill>
                      <a:schemeClr val="bg1"/>
                    </a:solidFill>
                  </a:defRPr>
                </a:pPr>
                <a:endParaRPr lang="en-US"/>
              </a:p>
            </c:txPr>
            <c:dLblPos val="ctr"/>
            <c:showLegendKey val="0"/>
            <c:showVal val="1"/>
            <c:showCatName val="0"/>
            <c:showSerName val="0"/>
            <c:showPercent val="0"/>
            <c:showBubbleSize val="0"/>
            <c:showLeaderLines val="0"/>
          </c:dLbls>
          <c:cat>
            <c:numRef>
              <c:f>Sheet1!$A$2:$A$5</c:f>
              <c:numCache>
                <c:formatCode>General</c:formatCode>
                <c:ptCount val="4"/>
                <c:pt idx="0">
                  <c:v>2005</c:v>
                </c:pt>
                <c:pt idx="1">
                  <c:v>2010</c:v>
                </c:pt>
                <c:pt idx="2">
                  <c:v>2015</c:v>
                </c:pt>
                <c:pt idx="3">
                  <c:v>2020</c:v>
                </c:pt>
              </c:numCache>
            </c:numRef>
          </c:cat>
          <c:val>
            <c:numRef>
              <c:f>Sheet1!$B$2:$B$5</c:f>
              <c:numCache>
                <c:formatCode>0.0</c:formatCode>
                <c:ptCount val="4"/>
                <c:pt idx="0">
                  <c:v>14.71</c:v>
                </c:pt>
                <c:pt idx="1">
                  <c:v>21.34</c:v>
                </c:pt>
                <c:pt idx="2">
                  <c:v>28.02</c:v>
                </c:pt>
                <c:pt idx="3">
                  <c:v>37.58</c:v>
                </c:pt>
              </c:numCache>
            </c:numRef>
          </c:val>
        </c:ser>
        <c:ser>
          <c:idx val="1"/>
          <c:order val="1"/>
          <c:tx>
            <c:strRef>
              <c:f>Sheet1!$C$1</c:f>
              <c:strCache>
                <c:ptCount val="1"/>
                <c:pt idx="0">
                  <c:v>Pst Loss</c:v>
                </c:pt>
              </c:strCache>
            </c:strRef>
          </c:tx>
          <c:spPr>
            <a:solidFill>
              <a:srgbClr val="C00000"/>
            </a:solidFill>
          </c:spPr>
          <c:invertIfNegative val="0"/>
          <c:dLbls>
            <c:txPr>
              <a:bodyPr/>
              <a:lstStyle/>
              <a:p>
                <a:pPr>
                  <a:defRPr b="1">
                    <a:solidFill>
                      <a:schemeClr val="tx1"/>
                    </a:solidFill>
                  </a:defRPr>
                </a:pPr>
                <a:endParaRPr lang="en-US"/>
              </a:p>
            </c:txPr>
            <c:dLblPos val="ctr"/>
            <c:showLegendKey val="0"/>
            <c:showVal val="1"/>
            <c:showCatName val="0"/>
            <c:showSerName val="0"/>
            <c:showPercent val="0"/>
            <c:showBubbleSize val="0"/>
            <c:showLeaderLines val="0"/>
          </c:dLbls>
          <c:cat>
            <c:numRef>
              <c:f>Sheet1!$A$2:$A$5</c:f>
              <c:numCache>
                <c:formatCode>General</c:formatCode>
                <c:ptCount val="4"/>
                <c:pt idx="0">
                  <c:v>2005</c:v>
                </c:pt>
                <c:pt idx="1">
                  <c:v>2010</c:v>
                </c:pt>
                <c:pt idx="2">
                  <c:v>2015</c:v>
                </c:pt>
                <c:pt idx="3">
                  <c:v>2020</c:v>
                </c:pt>
              </c:numCache>
            </c:numRef>
          </c:cat>
          <c:val>
            <c:numRef>
              <c:f>Sheet1!$C$2:$C$5</c:f>
              <c:numCache>
                <c:formatCode>0.0</c:formatCode>
                <c:ptCount val="4"/>
                <c:pt idx="0">
                  <c:v>0.37000000000000038</c:v>
                </c:pt>
                <c:pt idx="1">
                  <c:v>0.53</c:v>
                </c:pt>
                <c:pt idx="2">
                  <c:v>0.70000000000000062</c:v>
                </c:pt>
                <c:pt idx="3">
                  <c:v>0.94000000000000061</c:v>
                </c:pt>
              </c:numCache>
            </c:numRef>
          </c:val>
        </c:ser>
        <c:ser>
          <c:idx val="2"/>
          <c:order val="2"/>
          <c:tx>
            <c:strRef>
              <c:f>Sheet1!$D$1</c:f>
              <c:strCache>
                <c:ptCount val="1"/>
                <c:pt idx="0">
                  <c:v>Series 3</c:v>
                </c:pt>
              </c:strCache>
            </c:strRef>
          </c:tx>
          <c:spPr>
            <a:noFill/>
          </c:spPr>
          <c:invertIfNegative val="0"/>
          <c:dLbls>
            <c:dLbl>
              <c:idx val="3"/>
              <c:layout>
                <c:manualLayout>
                  <c:x val="3.0131615847046292E-3"/>
                  <c:y val="0.15489015449960641"/>
                </c:manualLayout>
              </c:layout>
              <c:spPr/>
              <c:txPr>
                <a:bodyPr/>
                <a:lstStyle/>
                <a:p>
                  <a:pPr>
                    <a:defRPr b="1">
                      <a:solidFill>
                        <a:schemeClr val="tx1"/>
                      </a:solidFill>
                    </a:defRPr>
                  </a:pPr>
                  <a:endParaRPr lang="en-US"/>
                </a:p>
              </c:txPr>
              <c:dLblPos val="ctr"/>
              <c:showLegendKey val="0"/>
              <c:showVal val="1"/>
              <c:showCatName val="0"/>
              <c:showSerName val="0"/>
              <c:showPercent val="0"/>
              <c:showBubbleSize val="0"/>
            </c:dLbl>
            <c:txPr>
              <a:bodyPr/>
              <a:lstStyle/>
              <a:p>
                <a:pPr>
                  <a:defRPr b="1"/>
                </a:pPr>
                <a:endParaRPr lang="en-US"/>
              </a:p>
            </c:txPr>
            <c:dLblPos val="inBase"/>
            <c:showLegendKey val="0"/>
            <c:showVal val="1"/>
            <c:showCatName val="0"/>
            <c:showSerName val="0"/>
            <c:showPercent val="0"/>
            <c:showBubbleSize val="0"/>
            <c:showLeaderLines val="0"/>
          </c:dLbls>
          <c:cat>
            <c:numRef>
              <c:f>Sheet1!$A$2:$A$5</c:f>
              <c:numCache>
                <c:formatCode>General</c:formatCode>
                <c:ptCount val="4"/>
                <c:pt idx="0">
                  <c:v>2005</c:v>
                </c:pt>
                <c:pt idx="1">
                  <c:v>2010</c:v>
                </c:pt>
                <c:pt idx="2">
                  <c:v>2015</c:v>
                </c:pt>
                <c:pt idx="3">
                  <c:v>2020</c:v>
                </c:pt>
              </c:numCache>
            </c:numRef>
          </c:cat>
          <c:val>
            <c:numRef>
              <c:f>Sheet1!$D$2:$D$5</c:f>
              <c:numCache>
                <c:formatCode>0.0</c:formatCode>
                <c:ptCount val="4"/>
                <c:pt idx="0">
                  <c:v>14.340000000000002</c:v>
                </c:pt>
                <c:pt idx="1">
                  <c:v>20.810000000000031</c:v>
                </c:pt>
                <c:pt idx="2">
                  <c:v>27.32</c:v>
                </c:pt>
                <c:pt idx="3">
                  <c:v>36.64</c:v>
                </c:pt>
              </c:numCache>
            </c:numRef>
          </c:val>
        </c:ser>
        <c:dLbls>
          <c:showLegendKey val="0"/>
          <c:showVal val="1"/>
          <c:showCatName val="0"/>
          <c:showSerName val="0"/>
          <c:showPercent val="0"/>
          <c:showBubbleSize val="0"/>
        </c:dLbls>
        <c:gapWidth val="150"/>
        <c:overlap val="100"/>
        <c:axId val="180298880"/>
        <c:axId val="180300416"/>
      </c:barChart>
      <c:catAx>
        <c:axId val="180298880"/>
        <c:scaling>
          <c:orientation val="minMax"/>
        </c:scaling>
        <c:delete val="0"/>
        <c:axPos val="b"/>
        <c:numFmt formatCode="General" sourceLinked="1"/>
        <c:majorTickMark val="out"/>
        <c:minorTickMark val="none"/>
        <c:tickLblPos val="nextTo"/>
        <c:crossAx val="180300416"/>
        <c:crosses val="autoZero"/>
        <c:auto val="1"/>
        <c:lblAlgn val="ctr"/>
        <c:lblOffset val="100"/>
        <c:noMultiLvlLbl val="0"/>
      </c:catAx>
      <c:valAx>
        <c:axId val="180300416"/>
        <c:scaling>
          <c:orientation val="minMax"/>
        </c:scaling>
        <c:delete val="1"/>
        <c:axPos val="l"/>
        <c:numFmt formatCode="0.0" sourceLinked="1"/>
        <c:majorTickMark val="out"/>
        <c:minorTickMark val="none"/>
        <c:tickLblPos val="none"/>
        <c:crossAx val="180298880"/>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rea</c:v>
                </c:pt>
              </c:strCache>
            </c:strRef>
          </c:tx>
          <c:spPr>
            <a:solidFill>
              <a:schemeClr val="bg2"/>
            </a:solidFill>
          </c:spPr>
          <c:invertIfNegative val="0"/>
          <c:dLbls>
            <c:txPr>
              <a:bodyPr/>
              <a:lstStyle/>
              <a:p>
                <a:pPr>
                  <a:defRPr sz="1050" b="1">
                    <a:solidFill>
                      <a:schemeClr val="bg1"/>
                    </a:solidFill>
                  </a:defRPr>
                </a:pPr>
                <a:endParaRPr lang="en-US"/>
              </a:p>
            </c:txPr>
            <c:dLblPos val="inEnd"/>
            <c:showLegendKey val="0"/>
            <c:showVal val="1"/>
            <c:showCatName val="0"/>
            <c:showSerName val="0"/>
            <c:showPercent val="0"/>
            <c:showBubbleSize val="0"/>
            <c:showLeaderLines val="0"/>
          </c:dLbls>
          <c:cat>
            <c:numRef>
              <c:f>Sheet1!$A$2:$A$5</c:f>
              <c:numCache>
                <c:formatCode>General</c:formatCode>
                <c:ptCount val="4"/>
                <c:pt idx="0">
                  <c:v>2005</c:v>
                </c:pt>
                <c:pt idx="1">
                  <c:v>2010</c:v>
                </c:pt>
                <c:pt idx="2">
                  <c:v>2015</c:v>
                </c:pt>
                <c:pt idx="3">
                  <c:v>2020</c:v>
                </c:pt>
              </c:numCache>
            </c:numRef>
          </c:cat>
          <c:val>
            <c:numRef>
              <c:f>Sheet1!$B$2:$B$5</c:f>
              <c:numCache>
                <c:formatCode>General</c:formatCode>
                <c:ptCount val="4"/>
                <c:pt idx="0">
                  <c:v>7.6</c:v>
                </c:pt>
                <c:pt idx="1">
                  <c:v>8.3000000000000007</c:v>
                </c:pt>
                <c:pt idx="2">
                  <c:v>8.3000000000000007</c:v>
                </c:pt>
                <c:pt idx="3">
                  <c:v>8.4</c:v>
                </c:pt>
              </c:numCache>
            </c:numRef>
          </c:val>
        </c:ser>
        <c:dLbls>
          <c:showLegendKey val="0"/>
          <c:showVal val="1"/>
          <c:showCatName val="0"/>
          <c:showSerName val="0"/>
          <c:showPercent val="0"/>
          <c:showBubbleSize val="0"/>
        </c:dLbls>
        <c:gapWidth val="130"/>
        <c:overlap val="100"/>
        <c:axId val="180671616"/>
        <c:axId val="180673152"/>
      </c:barChart>
      <c:lineChart>
        <c:grouping val="standard"/>
        <c:varyColors val="0"/>
        <c:ser>
          <c:idx val="1"/>
          <c:order val="1"/>
          <c:tx>
            <c:strRef>
              <c:f>Sheet1!$C$1</c:f>
              <c:strCache>
                <c:ptCount val="1"/>
                <c:pt idx="0">
                  <c:v>Yield </c:v>
                </c:pt>
              </c:strCache>
            </c:strRef>
          </c:tx>
          <c:dLbls>
            <c:txPr>
              <a:bodyPr/>
              <a:lstStyle/>
              <a:p>
                <a:pPr>
                  <a:defRPr b="1">
                    <a:solidFill>
                      <a:schemeClr val="bg1"/>
                    </a:solidFill>
                  </a:defRPr>
                </a:pPr>
                <a:endParaRPr lang="en-US"/>
              </a:p>
            </c:txPr>
            <c:dLblPos val="b"/>
            <c:showLegendKey val="0"/>
            <c:showVal val="1"/>
            <c:showCatName val="0"/>
            <c:showSerName val="0"/>
            <c:showPercent val="0"/>
            <c:showBubbleSize val="0"/>
            <c:showLeaderLines val="0"/>
          </c:dLbls>
          <c:cat>
            <c:numRef>
              <c:f>Sheet1!$A$2:$A$5</c:f>
              <c:numCache>
                <c:formatCode>General</c:formatCode>
                <c:ptCount val="4"/>
                <c:pt idx="0">
                  <c:v>2005</c:v>
                </c:pt>
                <c:pt idx="1">
                  <c:v>2010</c:v>
                </c:pt>
                <c:pt idx="2">
                  <c:v>2015</c:v>
                </c:pt>
                <c:pt idx="3">
                  <c:v>2020</c:v>
                </c:pt>
              </c:numCache>
            </c:numRef>
          </c:cat>
          <c:val>
            <c:numRef>
              <c:f>Sheet1!$C$2:$C$5</c:f>
              <c:numCache>
                <c:formatCode>0.0</c:formatCode>
                <c:ptCount val="4"/>
                <c:pt idx="0">
                  <c:v>1.9000000000000001</c:v>
                </c:pt>
                <c:pt idx="1">
                  <c:v>2.58</c:v>
                </c:pt>
                <c:pt idx="2">
                  <c:v>3.38</c:v>
                </c:pt>
                <c:pt idx="3">
                  <c:v>4.54</c:v>
                </c:pt>
              </c:numCache>
            </c:numRef>
          </c:val>
          <c:smooth val="0"/>
        </c:ser>
        <c:dLbls>
          <c:showLegendKey val="0"/>
          <c:showVal val="0"/>
          <c:showCatName val="0"/>
          <c:showSerName val="0"/>
          <c:showPercent val="0"/>
          <c:showBubbleSize val="0"/>
        </c:dLbls>
        <c:marker val="1"/>
        <c:smooth val="0"/>
        <c:axId val="180671616"/>
        <c:axId val="180673152"/>
      </c:lineChart>
      <c:catAx>
        <c:axId val="180671616"/>
        <c:scaling>
          <c:orientation val="minMax"/>
        </c:scaling>
        <c:delete val="0"/>
        <c:axPos val="b"/>
        <c:numFmt formatCode="General" sourceLinked="1"/>
        <c:majorTickMark val="none"/>
        <c:minorTickMark val="none"/>
        <c:tickLblPos val="nextTo"/>
        <c:crossAx val="180673152"/>
        <c:crosses val="autoZero"/>
        <c:auto val="1"/>
        <c:lblAlgn val="ctr"/>
        <c:lblOffset val="100"/>
        <c:noMultiLvlLbl val="0"/>
      </c:catAx>
      <c:valAx>
        <c:axId val="180673152"/>
        <c:scaling>
          <c:orientation val="minMax"/>
        </c:scaling>
        <c:delete val="1"/>
        <c:axPos val="l"/>
        <c:numFmt formatCode="General" sourceLinked="1"/>
        <c:majorTickMark val="out"/>
        <c:minorTickMark val="none"/>
        <c:tickLblPos val="none"/>
        <c:crossAx val="180671616"/>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eaLnBrk="0" hangingPunct="0">
              <a:spcAft>
                <a:spcPts val="600"/>
              </a:spcAft>
              <a:defRPr sz="1200"/>
            </a:lvl1pPr>
          </a:lstStyle>
          <a:p>
            <a:pPr>
              <a:defRPr/>
            </a:pPr>
            <a:endParaRPr lang="de-CH"/>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eaLnBrk="0" hangingPunct="0">
              <a:spcAft>
                <a:spcPts val="600"/>
              </a:spcAft>
              <a:defRPr sz="1200"/>
            </a:lvl1pPr>
          </a:lstStyle>
          <a:p>
            <a:pPr>
              <a:defRPr/>
            </a:pPr>
            <a:fld id="{1CD21647-3907-48F4-8324-BD5C5AE4467A}" type="datetimeFigureOut">
              <a:rPr lang="de-DE"/>
              <a:pPr>
                <a:defRPr/>
              </a:pPr>
              <a:t>19.03.2014</a:t>
            </a:fld>
            <a:endParaRPr lang="de-CH"/>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de-CH" noProof="0" smtClean="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de-CH" noProof="0" smtClean="0"/>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eaLnBrk="0" hangingPunct="0">
              <a:spcAft>
                <a:spcPts val="600"/>
              </a:spcAft>
              <a:defRPr sz="1200"/>
            </a:lvl1pPr>
          </a:lstStyle>
          <a:p>
            <a:pPr>
              <a:defRPr/>
            </a:pPr>
            <a:endParaRPr lang="de-CH"/>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eaLnBrk="0" hangingPunct="0">
              <a:spcAft>
                <a:spcPts val="600"/>
              </a:spcAft>
              <a:defRPr sz="1200"/>
            </a:lvl1pPr>
          </a:lstStyle>
          <a:p>
            <a:pPr>
              <a:defRPr/>
            </a:pPr>
            <a:fld id="{201A48D2-05E1-427F-86AE-0CBA5B27E11C}" type="slidenum">
              <a:rPr lang="de-CH"/>
              <a:pPr>
                <a:defRPr/>
              </a:pPr>
              <a:t>‹#›</a:t>
            </a:fld>
            <a:endParaRPr lang="de-CH"/>
          </a:p>
        </p:txBody>
      </p:sp>
    </p:spTree>
    <p:extLst>
      <p:ext uri="{BB962C8B-B14F-4D97-AF65-F5344CB8AC3E}">
        <p14:creationId xmlns:p14="http://schemas.microsoft.com/office/powerpoint/2010/main" val="36023163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01A48D2-05E1-427F-86AE-0CBA5B27E11C}" type="slidenum">
              <a:rPr lang="de-CH" smtClean="0">
                <a:solidFill>
                  <a:prstClr val="black"/>
                </a:solidFill>
              </a:rPr>
              <a:pPr>
                <a:defRPr/>
              </a:pPr>
              <a:t>1</a:t>
            </a:fld>
            <a:endParaRPr lang="de-CH">
              <a:solidFill>
                <a:prstClr val="black"/>
              </a:solidFill>
            </a:endParaRPr>
          </a:p>
        </p:txBody>
      </p:sp>
    </p:spTree>
    <p:extLst>
      <p:ext uri="{BB962C8B-B14F-4D97-AF65-F5344CB8AC3E}">
        <p14:creationId xmlns:p14="http://schemas.microsoft.com/office/powerpoint/2010/main" val="37588963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201A48D2-05E1-427F-86AE-0CBA5B27E11C}" type="slidenum">
              <a:rPr lang="de-CH" smtClean="0">
                <a:solidFill>
                  <a:prstClr val="black"/>
                </a:solidFill>
              </a:rPr>
              <a:pPr>
                <a:defRPr/>
              </a:pPr>
              <a:t>14</a:t>
            </a:fld>
            <a:endParaRPr lang="de-CH">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Notes:</a:t>
            </a:r>
          </a:p>
          <a:p>
            <a:r>
              <a:rPr lang="en-US" dirty="0" smtClean="0"/>
              <a:t>Group sales of $14.7 bn in 2013</a:t>
            </a:r>
          </a:p>
          <a:p>
            <a:r>
              <a:rPr lang="en-US" dirty="0" smtClean="0"/>
              <a:t>Crop Protection: $10.8 bn (excl. Sales to Seeds) $10.9</a:t>
            </a:r>
            <a:r>
              <a:rPr lang="en-US" baseline="0" dirty="0" smtClean="0"/>
              <a:t> bn (incl. Sales to Seeds)</a:t>
            </a:r>
            <a:endParaRPr lang="en-US" dirty="0" smtClean="0"/>
          </a:p>
          <a:p>
            <a:r>
              <a:rPr lang="en-US" dirty="0" smtClean="0"/>
              <a:t>Seeds: $3.2 bn</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201A48D2-05E1-427F-86AE-0CBA5B27E11C}" type="slidenum">
              <a:rPr lang="de-CH" smtClean="0"/>
              <a:pPr>
                <a:defRPr/>
              </a:pPr>
              <a:t>2</a:t>
            </a:fld>
            <a:endParaRPr lang="de-CH"/>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pPr>
              <a:defRPr/>
            </a:pPr>
            <a:fld id="{201A48D2-05E1-427F-86AE-0CBA5B27E11C}" type="slidenum">
              <a:rPr lang="de-CH" smtClean="0">
                <a:solidFill>
                  <a:prstClr val="black"/>
                </a:solidFill>
              </a:rPr>
              <a:pPr>
                <a:defRPr/>
              </a:pPr>
              <a:t>3</a:t>
            </a:fld>
            <a:endParaRPr lang="de-CH">
              <a:solidFill>
                <a:prstClr val="black"/>
              </a:solidFill>
            </a:endParaRPr>
          </a:p>
        </p:txBody>
      </p:sp>
    </p:spTree>
    <p:extLst>
      <p:ext uri="{BB962C8B-B14F-4D97-AF65-F5344CB8AC3E}">
        <p14:creationId xmlns:p14="http://schemas.microsoft.com/office/powerpoint/2010/main" val="24514222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normAutofit/>
          </a:bodyPr>
          <a:lstStyle/>
          <a:p>
            <a:r>
              <a:rPr lang="en-GB" dirty="0" smtClean="0"/>
              <a:t>Corn</a:t>
            </a:r>
            <a:r>
              <a:rPr lang="en-GB" baseline="0" dirty="0" smtClean="0"/>
              <a:t> is a global </a:t>
            </a:r>
            <a:r>
              <a:rPr lang="en-GB" baseline="0" dirty="0" smtClean="0"/>
              <a:t>corn </a:t>
            </a:r>
            <a:r>
              <a:rPr lang="en-GB" baseline="0" dirty="0" smtClean="0"/>
              <a:t>and responds well to good management </a:t>
            </a:r>
            <a:endParaRPr lang="en-GB" baseline="0" dirty="0" smtClean="0"/>
          </a:p>
          <a:p>
            <a:r>
              <a:rPr lang="en-US" sz="1200" b="1" dirty="0" smtClean="0">
                <a:solidFill>
                  <a:srgbClr val="FFFFFF"/>
                </a:solidFill>
              </a:rPr>
              <a:t>Around 60 percent of global corn production is used for animal feed. This means that the global importance of corn is expanding particularly in emerging markets, where growth in meat consumption is increasing. Corn growers are also supplying other end uses such as sweeteners, plastics and – particularly in the US – biofuels.</a:t>
            </a:r>
          </a:p>
          <a:p>
            <a:r>
              <a:rPr lang="en-US" sz="1200" b="1" dirty="0" smtClean="0">
                <a:solidFill>
                  <a:srgbClr val="FFFFFF"/>
                </a:solidFill>
              </a:rPr>
              <a:t>Corn is one of the most productive crops: plant one seed, and you get over 500 kernels in return. Hybridization over many years has allowed enormous productivity gains, and this has been complemented in the last decade by the development of biotech traits in North America, Latin America, Asia and South Africa. As a result, the value of corn seed has risen, and seed selection has become a key grower decision. In addition, to safeguard their substantial investment in seed, growers need a range of solutions to protect their crop from weeds, insects and environmental stress.</a:t>
            </a:r>
          </a:p>
          <a:p>
            <a:endParaRPr lang="en-GB" dirty="0"/>
          </a:p>
        </p:txBody>
      </p:sp>
      <p:sp>
        <p:nvSpPr>
          <p:cNvPr id="4" name="Slide Number Placeholder 3"/>
          <p:cNvSpPr>
            <a:spLocks noGrp="1"/>
          </p:cNvSpPr>
          <p:nvPr>
            <p:ph type="sldNum" sz="quarter" idx="10"/>
          </p:nvPr>
        </p:nvSpPr>
        <p:spPr/>
        <p:txBody>
          <a:bodyPr/>
          <a:lstStyle/>
          <a:p>
            <a:pPr>
              <a:defRPr/>
            </a:pPr>
            <a:fld id="{201A48D2-05E1-427F-86AE-0CBA5B27E11C}" type="slidenum">
              <a:rPr lang="de-CH" smtClean="0">
                <a:solidFill>
                  <a:prstClr val="black"/>
                </a:solidFill>
              </a:rPr>
              <a:pPr>
                <a:defRPr/>
              </a:pPr>
              <a:t>5</a:t>
            </a:fld>
            <a:endParaRPr lang="de-CH">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5"/>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a:defRPr/>
            </a:pPr>
            <a:fld id="{DAF9F415-E17D-446F-B688-16F0D4B58501}" type="slidenum">
              <a:rPr lang="en-GB" smtClean="0">
                <a:solidFill>
                  <a:prstClr val="black"/>
                </a:solidFill>
              </a:rPr>
              <a:pPr>
                <a:defRPr/>
              </a:pPr>
              <a:t>6</a:t>
            </a:fld>
            <a:endParaRPr lang="en-GB" dirty="0" smtClean="0">
              <a:solidFill>
                <a:prstClr val="black"/>
              </a:solidFill>
            </a:endParaRPr>
          </a:p>
        </p:txBody>
      </p:sp>
      <p:sp>
        <p:nvSpPr>
          <p:cNvPr id="79875" name="Rectangle 2"/>
          <p:cNvSpPr>
            <a:spLocks noGrp="1" noRot="1" noChangeAspect="1" noChangeArrowheads="1" noTextEdit="1"/>
          </p:cNvSpPr>
          <p:nvPr>
            <p:ph type="sldImg"/>
          </p:nvPr>
        </p:nvSpPr>
        <p:spPr bwMode="auto">
          <a:xfrm>
            <a:off x="946150" y="752475"/>
            <a:ext cx="4941888" cy="3708400"/>
          </a:xfrm>
          <a:noFill/>
          <a:ln>
            <a:solidFill>
              <a:srgbClr val="000000"/>
            </a:solidFill>
            <a:miter lim="800000"/>
            <a:headEnd/>
            <a:tailEnd/>
          </a:ln>
        </p:spPr>
      </p:sp>
      <p:sp>
        <p:nvSpPr>
          <p:cNvPr id="79876" name="Rectangle 3"/>
          <p:cNvSpPr>
            <a:spLocks noGrp="1" noChangeArrowheads="1"/>
          </p:cNvSpPr>
          <p:nvPr>
            <p:ph type="body" idx="1"/>
          </p:nvPr>
        </p:nvSpPr>
        <p:spPr bwMode="auto">
          <a:xfrm>
            <a:off x="907762" y="4717217"/>
            <a:ext cx="4982155" cy="4466351"/>
          </a:xfrm>
          <a:noFill/>
        </p:spPr>
        <p:txBody>
          <a:bodyPr wrap="square" numCol="1" anchor="t" anchorCtr="0" compatLnSpc="1">
            <a:prstTxWarp prst="textNoShape">
              <a:avLst/>
            </a:prstTxWarp>
          </a:bodyPr>
          <a:lstStyle/>
          <a:p>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CH"/>
          </a:p>
        </p:txBody>
      </p:sp>
      <p:sp>
        <p:nvSpPr>
          <p:cNvPr id="4" name="Slide Number Placeholder 3"/>
          <p:cNvSpPr>
            <a:spLocks noGrp="1"/>
          </p:cNvSpPr>
          <p:nvPr>
            <p:ph type="sldNum" sz="quarter" idx="10"/>
          </p:nvPr>
        </p:nvSpPr>
        <p:spPr/>
        <p:txBody>
          <a:bodyPr/>
          <a:lstStyle/>
          <a:p>
            <a:pPr>
              <a:defRPr/>
            </a:pPr>
            <a:fld id="{201A48D2-05E1-427F-86AE-0CBA5B27E11C}" type="slidenum">
              <a:rPr lang="de-CH" smtClean="0">
                <a:solidFill>
                  <a:prstClr val="black"/>
                </a:solidFill>
              </a:rPr>
              <a:pPr>
                <a:defRPr/>
              </a:pPr>
              <a:t>8</a:t>
            </a:fld>
            <a:endParaRPr lang="de-CH">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t>Corn growers in INDIA. Very many, small, aging with many families supplementing their livelihood with off farm income. Emergence of contract farming services </a:t>
            </a:r>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fld id="{97391DA6-1DCF-4929-9AE8-CB6FA10964FE}" type="slidenum">
              <a:rPr lang="de-CH" sz="1200">
                <a:solidFill>
                  <a:prstClr val="black"/>
                </a:solidFill>
              </a:rPr>
              <a:pPr/>
              <a:t>9</a:t>
            </a:fld>
            <a:endParaRPr lang="de-CH" sz="120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fontScale="92500" lnSpcReduction="10000"/>
          </a:bodyPr>
          <a:lstStyle/>
          <a:p>
            <a:r>
              <a:rPr lang="en-US" dirty="0" smtClean="0"/>
              <a:t>Lets look at the technology combination that is transforming corn production in INDIA. </a:t>
            </a:r>
          </a:p>
          <a:p>
            <a:r>
              <a:rPr lang="en-US" dirty="0" smtClean="0"/>
              <a:t>From Genetics and crop protection, to Biotechnology traits and improved agronomic practices using more mechanization </a:t>
            </a:r>
          </a:p>
          <a:p>
            <a:pPr eaLnBrk="1" hangingPunct="1"/>
            <a:r>
              <a:rPr lang="en-US" dirty="0" smtClean="0"/>
              <a:t>I would like to take this opportunity to highlight the fact that Syngenta is a leader in agriculture because we are able to bring together technologies from different areas of science.  I briefly reviewed our crop protection pipeline which highlights our capabilities in the field of chemical solutions.</a:t>
            </a:r>
          </a:p>
          <a:p>
            <a:pPr eaLnBrk="1" hangingPunct="1"/>
            <a:endParaRPr lang="en-US" dirty="0" smtClean="0"/>
          </a:p>
          <a:p>
            <a:pPr eaLnBrk="1" hangingPunct="1"/>
            <a:r>
              <a:rPr lang="en-US" dirty="0" smtClean="0"/>
              <a:t>Now I would like to turn to Corn and Soy Seed R&amp;D, where we are well positioned to unite two technologies to develop products to meet our grower customers’ needs. </a:t>
            </a:r>
          </a:p>
          <a:p>
            <a:pPr eaLnBrk="1" hangingPunct="1"/>
            <a:endParaRPr lang="en-US" dirty="0" smtClean="0"/>
          </a:p>
          <a:p>
            <a:pPr eaLnBrk="1" hangingPunct="1"/>
            <a:r>
              <a:rPr lang="en-US" dirty="0" smtClean="0"/>
              <a:t>There are two important technologies for moving forward crops which can meet the needs of today’s growers: genetic modification and precision breeding. Genetic modification introduces genes from other species, which wouldn’t normally be found in that particular crop.  The resulting crop is a transgenic, or genetically modified, crop.  </a:t>
            </a:r>
          </a:p>
          <a:p>
            <a:pPr eaLnBrk="1" hangingPunct="1"/>
            <a:endParaRPr lang="en-US" dirty="0" smtClean="0"/>
          </a:p>
          <a:p>
            <a:pPr eaLnBrk="1" hangingPunct="1"/>
            <a:r>
              <a:rPr lang="en-US" dirty="0" smtClean="0"/>
              <a:t>Precision breeding utilizes techniques that help us understand the genetic makeup of crops.  We can then use that information to identify useful traits, as well as improve the efficiency of breeding desirable traits into the crop species, while breeding out the undesirable traits.  Precision breeding capitalizes on technology to get products to growers faster and more efficiently.  It is particularly well-suited to complex, multi-gene traits that are native to the crop species.</a:t>
            </a:r>
          </a:p>
          <a:p>
            <a:pPr eaLnBrk="1" hangingPunct="1"/>
            <a:endParaRPr lang="en-US" dirty="0" smtClean="0"/>
          </a:p>
          <a:p>
            <a:pPr eaLnBrk="1" hangingPunct="1"/>
            <a:r>
              <a:rPr lang="en-US" dirty="0" smtClean="0"/>
              <a:t>Syngenta has leadership expertise in both of these technologies.  That makes a world of difference in the quality of our products that we can offer to growers. </a:t>
            </a:r>
          </a:p>
          <a:p>
            <a:pPr eaLnBrk="1" hangingPunct="1"/>
            <a:endParaRPr lang="en-US" dirty="0" smtClean="0"/>
          </a:p>
          <a:p>
            <a:endParaRPr lang="en-US" dirty="0" smtClean="0"/>
          </a:p>
        </p:txBody>
      </p:sp>
      <p:sp>
        <p:nvSpPr>
          <p:cNvPr id="460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defRPr>
            </a:lvl1pPr>
            <a:lvl2pPr marL="742950" indent="-285750" eaLnBrk="0" hangingPunct="0">
              <a:defRPr sz="1000">
                <a:solidFill>
                  <a:schemeClr val="tx1"/>
                </a:solidFill>
                <a:latin typeface="Arial" charset="0"/>
              </a:defRPr>
            </a:lvl2pPr>
            <a:lvl3pPr marL="1143000" indent="-228600" eaLnBrk="0" hangingPunct="0">
              <a:defRPr sz="1000">
                <a:solidFill>
                  <a:schemeClr val="tx1"/>
                </a:solidFill>
                <a:latin typeface="Arial" charset="0"/>
              </a:defRPr>
            </a:lvl3pPr>
            <a:lvl4pPr marL="1600200" indent="-228600" eaLnBrk="0" hangingPunct="0">
              <a:defRPr sz="1000">
                <a:solidFill>
                  <a:schemeClr val="tx1"/>
                </a:solidFill>
                <a:latin typeface="Arial" charset="0"/>
              </a:defRPr>
            </a:lvl4pPr>
            <a:lvl5pPr marL="2057400" indent="-228600" eaLnBrk="0" hangingPunct="0">
              <a:defRPr sz="1000">
                <a:solidFill>
                  <a:schemeClr val="tx1"/>
                </a:solidFill>
                <a:latin typeface="Arial" charset="0"/>
              </a:defRPr>
            </a:lvl5pPr>
            <a:lvl6pPr marL="2514600" indent="-228600" eaLnBrk="0" fontAlgn="base" hangingPunct="0">
              <a:spcBef>
                <a:spcPct val="0"/>
              </a:spcBef>
              <a:spcAft>
                <a:spcPct val="0"/>
              </a:spcAft>
              <a:defRPr sz="1000">
                <a:solidFill>
                  <a:schemeClr val="tx1"/>
                </a:solidFill>
                <a:latin typeface="Arial" charset="0"/>
              </a:defRPr>
            </a:lvl6pPr>
            <a:lvl7pPr marL="2971800" indent="-228600" eaLnBrk="0" fontAlgn="base" hangingPunct="0">
              <a:spcBef>
                <a:spcPct val="0"/>
              </a:spcBef>
              <a:spcAft>
                <a:spcPct val="0"/>
              </a:spcAft>
              <a:defRPr sz="1000">
                <a:solidFill>
                  <a:schemeClr val="tx1"/>
                </a:solidFill>
                <a:latin typeface="Arial" charset="0"/>
              </a:defRPr>
            </a:lvl7pPr>
            <a:lvl8pPr marL="3429000" indent="-228600" eaLnBrk="0" fontAlgn="base" hangingPunct="0">
              <a:spcBef>
                <a:spcPct val="0"/>
              </a:spcBef>
              <a:spcAft>
                <a:spcPct val="0"/>
              </a:spcAft>
              <a:defRPr sz="1000">
                <a:solidFill>
                  <a:schemeClr val="tx1"/>
                </a:solidFill>
                <a:latin typeface="Arial" charset="0"/>
              </a:defRPr>
            </a:lvl8pPr>
            <a:lvl9pPr marL="3886200" indent="-228600" eaLnBrk="0" fontAlgn="base" hangingPunct="0">
              <a:spcBef>
                <a:spcPct val="0"/>
              </a:spcBef>
              <a:spcAft>
                <a:spcPct val="0"/>
              </a:spcAft>
              <a:defRPr sz="1000">
                <a:solidFill>
                  <a:schemeClr val="tx1"/>
                </a:solidFill>
                <a:latin typeface="Arial" charset="0"/>
              </a:defRPr>
            </a:lvl9pPr>
          </a:lstStyle>
          <a:p>
            <a:fld id="{D4547D59-8C06-4B4E-99E2-E729EDA113B1}" type="slidenum">
              <a:rPr lang="de-CH" sz="1200">
                <a:solidFill>
                  <a:prstClr val="black"/>
                </a:solidFill>
              </a:rPr>
              <a:pPr/>
              <a:t>11</a:t>
            </a:fld>
            <a:endParaRPr lang="de-CH" sz="120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i="0" u="none" strike="noStrike" kern="1200" baseline="0" dirty="0" smtClean="0">
                <a:solidFill>
                  <a:schemeClr val="tx1"/>
                </a:solidFill>
                <a:latin typeface="+mn-lt"/>
                <a:ea typeface="+mn-ea"/>
                <a:cs typeface="+mn-cs"/>
              </a:rPr>
              <a:t>We are launching </a:t>
            </a:r>
            <a:r>
              <a:rPr lang="en-US" sz="1200" b="0" i="1" u="none" strike="noStrike" kern="1200" baseline="0" dirty="0" smtClean="0">
                <a:solidFill>
                  <a:schemeClr val="tx1"/>
                </a:solidFill>
                <a:latin typeface="+mn-lt"/>
                <a:ea typeface="+mn-ea"/>
                <a:cs typeface="+mn-cs"/>
              </a:rPr>
              <a:t>The Good Growth Plan </a:t>
            </a:r>
            <a:r>
              <a:rPr lang="en-US" sz="1200" b="0" i="0" u="none" strike="noStrike" kern="1200" baseline="0" dirty="0" smtClean="0">
                <a:solidFill>
                  <a:schemeClr val="tx1"/>
                </a:solidFill>
                <a:latin typeface="+mn-lt"/>
                <a:ea typeface="+mn-ea"/>
                <a:cs typeface="+mn-cs"/>
              </a:rPr>
              <a:t>which includes six specific commitments to address critical challenges the world faces in feeding a growing population.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By 2020, we commit to:</a:t>
            </a:r>
            <a:br>
              <a:rPr lang="en-US" sz="1200" b="0" i="0" u="none" strike="noStrike" kern="1200" baseline="0" dirty="0" smtClean="0">
                <a:solidFill>
                  <a:schemeClr val="tx1"/>
                </a:solidFill>
                <a:latin typeface="+mn-lt"/>
                <a:ea typeface="+mn-ea"/>
                <a:cs typeface="+mn-cs"/>
              </a:rPr>
            </a:br>
            <a:endParaRPr lang="en-US" sz="1200" b="0" i="0" u="none" strike="noStrike" kern="1200" baseline="0" dirty="0" smtClean="0">
              <a:solidFill>
                <a:schemeClr val="tx1"/>
              </a:solidFill>
              <a:latin typeface="+mn-lt"/>
              <a:ea typeface="+mn-ea"/>
              <a:cs typeface="+mn-cs"/>
            </a:endParaRPr>
          </a:p>
          <a:p>
            <a:pPr marL="171450" indent="-171450">
              <a:buFont typeface="Arial" pitchFamily="34" charset="0"/>
              <a:buChar char="•"/>
            </a:pPr>
            <a:r>
              <a:rPr lang="en-US" sz="1200" b="1" i="0" u="none" strike="noStrike" kern="1200" baseline="0" dirty="0" smtClean="0">
                <a:solidFill>
                  <a:schemeClr val="tx1"/>
                </a:solidFill>
                <a:latin typeface="+mn-lt"/>
                <a:ea typeface="+mn-ea"/>
                <a:cs typeface="+mn-cs"/>
              </a:rPr>
              <a:t>Make crops more efficient: </a:t>
            </a:r>
            <a:r>
              <a:rPr lang="en-US" sz="1200" b="0" i="0" u="none" strike="noStrike" kern="1200" baseline="0" dirty="0" smtClean="0">
                <a:solidFill>
                  <a:schemeClr val="tx1"/>
                </a:solidFill>
                <a:latin typeface="+mn-lt"/>
                <a:ea typeface="+mn-ea"/>
                <a:cs typeface="+mn-cs"/>
              </a:rPr>
              <a:t>Increase average productivity of the world’s major crops by 20 percent without using more land, water or inputs</a:t>
            </a:r>
          </a:p>
          <a:p>
            <a:pPr marL="171450" indent="-171450">
              <a:buFont typeface="Arial" pitchFamily="34" charset="0"/>
              <a:buChar char="•"/>
            </a:pPr>
            <a:endParaRPr lang="en-US" sz="1200" b="0" i="0" u="none" strike="noStrike" kern="1200" baseline="0" dirty="0" smtClean="0">
              <a:solidFill>
                <a:schemeClr val="tx1"/>
              </a:solidFill>
              <a:latin typeface="+mn-lt"/>
              <a:ea typeface="+mn-ea"/>
              <a:cs typeface="+mn-cs"/>
            </a:endParaRPr>
          </a:p>
          <a:p>
            <a:pPr marL="171450" indent="-171450">
              <a:buFont typeface="Arial" pitchFamily="34" charset="0"/>
              <a:buChar char="•"/>
            </a:pPr>
            <a:r>
              <a:rPr lang="en-US" sz="1200" b="1" i="0" u="none" strike="noStrike" kern="1200" baseline="0" dirty="0" smtClean="0">
                <a:solidFill>
                  <a:schemeClr val="tx1"/>
                </a:solidFill>
                <a:latin typeface="+mn-lt"/>
                <a:ea typeface="+mn-ea"/>
                <a:cs typeface="+mn-cs"/>
              </a:rPr>
              <a:t>Rescue more farmland: </a:t>
            </a:r>
            <a:r>
              <a:rPr lang="en-US" sz="1200" b="0" i="0" u="none" strike="noStrike" kern="1200" baseline="0" dirty="0" smtClean="0">
                <a:solidFill>
                  <a:schemeClr val="tx1"/>
                </a:solidFill>
                <a:latin typeface="+mn-lt"/>
                <a:ea typeface="+mn-ea"/>
                <a:cs typeface="+mn-cs"/>
              </a:rPr>
              <a:t>Improve the fertility of 10 million hectares of farmland on the brink of degradation</a:t>
            </a:r>
          </a:p>
          <a:p>
            <a:pPr marL="171450" indent="-171450">
              <a:buFont typeface="Arial" pitchFamily="34" charset="0"/>
              <a:buChar char="•"/>
            </a:pPr>
            <a:endParaRPr lang="en-US" sz="1200" b="0" i="0" u="none" strike="noStrike" kern="1200" baseline="0" dirty="0" smtClean="0">
              <a:solidFill>
                <a:schemeClr val="tx1"/>
              </a:solidFill>
              <a:latin typeface="+mn-lt"/>
              <a:ea typeface="+mn-ea"/>
              <a:cs typeface="+mn-cs"/>
            </a:endParaRPr>
          </a:p>
          <a:p>
            <a:pPr marL="171450" indent="-171450">
              <a:buFont typeface="Arial" pitchFamily="34" charset="0"/>
              <a:buChar char="•"/>
            </a:pPr>
            <a:r>
              <a:rPr lang="en-US" sz="1200" b="1" i="0" u="none" strike="noStrike" kern="1200" baseline="0" dirty="0" smtClean="0">
                <a:solidFill>
                  <a:schemeClr val="tx1"/>
                </a:solidFill>
                <a:latin typeface="+mn-lt"/>
                <a:ea typeface="+mn-ea"/>
                <a:cs typeface="+mn-cs"/>
              </a:rPr>
              <a:t>Help biodiversity flourish: </a:t>
            </a:r>
            <a:r>
              <a:rPr lang="en-US" sz="1200" b="0" i="0" u="none" strike="noStrike" kern="1200" baseline="0" dirty="0" smtClean="0">
                <a:solidFill>
                  <a:schemeClr val="tx1"/>
                </a:solidFill>
                <a:latin typeface="+mn-lt"/>
                <a:ea typeface="+mn-ea"/>
                <a:cs typeface="+mn-cs"/>
              </a:rPr>
              <a:t>Enhance biodiversity on 5 million hectares of farmland</a:t>
            </a:r>
          </a:p>
          <a:p>
            <a:pPr marL="171450" indent="-171450">
              <a:buFont typeface="Arial" pitchFamily="34" charset="0"/>
              <a:buChar char="•"/>
            </a:pPr>
            <a:endParaRPr lang="en-US" sz="1200" b="0" i="0" u="none" strike="noStrike" kern="1200" baseline="0" dirty="0" smtClean="0">
              <a:solidFill>
                <a:schemeClr val="tx1"/>
              </a:solidFill>
              <a:latin typeface="+mn-lt"/>
              <a:ea typeface="+mn-ea"/>
              <a:cs typeface="+mn-cs"/>
            </a:endParaRPr>
          </a:p>
          <a:p>
            <a:pPr marL="171450" indent="-171450">
              <a:buFont typeface="Arial" pitchFamily="34" charset="0"/>
              <a:buChar char="•"/>
            </a:pPr>
            <a:r>
              <a:rPr lang="en-US" sz="1200" b="1" i="0" u="none" strike="noStrike" kern="1200" baseline="0" dirty="0" smtClean="0">
                <a:solidFill>
                  <a:schemeClr val="tx1"/>
                </a:solidFill>
                <a:latin typeface="+mn-lt"/>
                <a:ea typeface="+mn-ea"/>
                <a:cs typeface="+mn-cs"/>
              </a:rPr>
              <a:t>Empower smallholders: </a:t>
            </a:r>
            <a:r>
              <a:rPr lang="en-US" sz="1200" b="0" i="0" u="none" strike="noStrike" kern="1200" baseline="0" dirty="0" smtClean="0">
                <a:solidFill>
                  <a:schemeClr val="tx1"/>
                </a:solidFill>
                <a:latin typeface="+mn-lt"/>
                <a:ea typeface="+mn-ea"/>
                <a:cs typeface="+mn-cs"/>
              </a:rPr>
              <a:t>Reach 20 million smallholders and enable them to increase productivity by 50 percent</a:t>
            </a:r>
          </a:p>
          <a:p>
            <a:pPr marL="171450" indent="-171450">
              <a:buFont typeface="Arial" pitchFamily="34" charset="0"/>
              <a:buChar char="•"/>
            </a:pPr>
            <a:endParaRPr lang="en-US" sz="1200" b="0" i="0" u="none" strike="noStrike" kern="1200" baseline="0" dirty="0" smtClean="0">
              <a:solidFill>
                <a:schemeClr val="tx1"/>
              </a:solidFill>
              <a:latin typeface="+mn-lt"/>
              <a:ea typeface="+mn-ea"/>
              <a:cs typeface="+mn-cs"/>
            </a:endParaRPr>
          </a:p>
          <a:p>
            <a:pPr marL="171450" indent="-171450">
              <a:buFont typeface="Arial" pitchFamily="34" charset="0"/>
              <a:buChar char="•"/>
            </a:pPr>
            <a:r>
              <a:rPr lang="en-US" sz="1200" b="1" i="0" u="none" strike="noStrike" kern="1200" baseline="0" dirty="0" smtClean="0">
                <a:solidFill>
                  <a:schemeClr val="tx1"/>
                </a:solidFill>
                <a:latin typeface="+mn-lt"/>
                <a:ea typeface="+mn-ea"/>
                <a:cs typeface="+mn-cs"/>
              </a:rPr>
              <a:t>Help people stay safe: </a:t>
            </a:r>
            <a:r>
              <a:rPr lang="en-US" sz="1200" b="0" i="0" u="none" strike="noStrike" kern="1200" baseline="0" dirty="0" smtClean="0">
                <a:solidFill>
                  <a:schemeClr val="tx1"/>
                </a:solidFill>
                <a:latin typeface="+mn-lt"/>
                <a:ea typeface="+mn-ea"/>
                <a:cs typeface="+mn-cs"/>
              </a:rPr>
              <a:t>Train 20 million farm workers on labor safety, especially in developing countries</a:t>
            </a:r>
          </a:p>
          <a:p>
            <a:pPr marL="171450" indent="-171450">
              <a:buFont typeface="Arial" pitchFamily="34" charset="0"/>
              <a:buChar char="•"/>
            </a:pPr>
            <a:endParaRPr lang="en-US" sz="1200" b="0" i="0" u="none" strike="noStrike" kern="1200" baseline="0" dirty="0" smtClean="0">
              <a:solidFill>
                <a:schemeClr val="tx1"/>
              </a:solidFill>
              <a:latin typeface="+mn-lt"/>
              <a:ea typeface="+mn-ea"/>
              <a:cs typeface="+mn-cs"/>
            </a:endParaRPr>
          </a:p>
          <a:p>
            <a:pPr marL="171450" indent="-171450">
              <a:buFont typeface="Arial" pitchFamily="34" charset="0"/>
              <a:buChar char="•"/>
            </a:pPr>
            <a:r>
              <a:rPr lang="en-US" sz="1200" b="1" i="0" u="none" strike="noStrike" kern="1200" baseline="0" dirty="0" smtClean="0">
                <a:solidFill>
                  <a:schemeClr val="tx1"/>
                </a:solidFill>
                <a:latin typeface="+mn-lt"/>
                <a:ea typeface="+mn-ea"/>
                <a:cs typeface="+mn-cs"/>
              </a:rPr>
              <a:t>Look after every worker: </a:t>
            </a:r>
            <a:r>
              <a:rPr lang="en-US" sz="1200" b="0" i="0" u="none" strike="noStrike" kern="1200" baseline="0" dirty="0" smtClean="0">
                <a:solidFill>
                  <a:schemeClr val="tx1"/>
                </a:solidFill>
                <a:latin typeface="+mn-lt"/>
                <a:ea typeface="+mn-ea"/>
                <a:cs typeface="+mn-cs"/>
              </a:rPr>
              <a:t>Strive for fair labor conditions throughout our entire supply chain network</a:t>
            </a:r>
            <a:endParaRPr lang="en-US" dirty="0"/>
          </a:p>
        </p:txBody>
      </p:sp>
      <p:sp>
        <p:nvSpPr>
          <p:cNvPr id="4" name="Slide Number Placeholder 3"/>
          <p:cNvSpPr>
            <a:spLocks noGrp="1"/>
          </p:cNvSpPr>
          <p:nvPr>
            <p:ph type="sldNum" sz="quarter" idx="10"/>
          </p:nvPr>
        </p:nvSpPr>
        <p:spPr/>
        <p:txBody>
          <a:bodyPr/>
          <a:lstStyle/>
          <a:p>
            <a:pPr>
              <a:defRPr/>
            </a:pPr>
            <a:fld id="{12162A04-2C26-42A7-B32A-63ACAE178EF0}" type="slidenum">
              <a:rPr lang="de-CH" smtClean="0"/>
              <a:pPr>
                <a:defRPr/>
              </a:pPr>
              <a:t>13</a:t>
            </a:fld>
            <a:endParaRPr lang="de-CH"/>
          </a:p>
        </p:txBody>
      </p:sp>
    </p:spTree>
    <p:extLst>
      <p:ext uri="{BB962C8B-B14F-4D97-AF65-F5344CB8AC3E}">
        <p14:creationId xmlns:p14="http://schemas.microsoft.com/office/powerpoint/2010/main" val="30065870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2.xml"/><Relationship Id="rId1" Type="http://schemas.openxmlformats.org/officeDocument/2006/relationships/tags" Target="../tags/tag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7.emf"/><Relationship Id="rId4" Type="http://schemas.openxmlformats.org/officeDocument/2006/relationships/tags" Target="../tags/tag8.xml"/><Relationship Id="rId9" Type="http://schemas.openxmlformats.org/officeDocument/2006/relationships/oleObject" Target="../embeddings/oleObject1.bin"/></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9.xml.rels><?xml version="1.0" encoding="UTF-8" standalone="yes"?>
<Relationships xmlns="http://schemas.openxmlformats.org/package/2006/relationships"><Relationship Id="rId8" Type="http://schemas.openxmlformats.org/officeDocument/2006/relationships/slideMaster" Target="../slideMasters/slideMaster22.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image" Target="../media/image7.emf"/><Relationship Id="rId4" Type="http://schemas.openxmlformats.org/officeDocument/2006/relationships/tags" Target="../tags/tag14.xml"/><Relationship Id="rId9"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2.xml.rels><?xml version="1.0" encoding="UTF-8" standalone="yes"?>
<Relationships xmlns="http://schemas.openxmlformats.org/package/2006/relationships"><Relationship Id="rId8" Type="http://schemas.openxmlformats.org/officeDocument/2006/relationships/slideMaster" Target="../slideMasters/slideMaster23.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vmlDrawing" Target="../drawings/vmlDrawing3.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7.emf"/><Relationship Id="rId4" Type="http://schemas.openxmlformats.org/officeDocument/2006/relationships/tags" Target="../tags/tag20.xml"/><Relationship Id="rId9" Type="http://schemas.openxmlformats.org/officeDocument/2006/relationships/oleObject" Target="../embeddings/oleObject3.bin"/></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0.xml"/><Relationship Id="rId1" Type="http://schemas.openxmlformats.org/officeDocument/2006/relationships/tags" Target="../tags/tag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2787154330"/>
      </p:ext>
    </p:extLst>
  </p:cSld>
  <p:clrMapOvr>
    <a:masterClrMapping/>
  </p:clrMapOvr>
  <p:transition>
    <p:wipe dir="r"/>
  </p:transition>
  <p:hf sldNum="0"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1718180946"/>
      </p:ext>
    </p:extLst>
  </p:cSld>
  <p:clrMapOvr>
    <a:masterClrMapping/>
  </p:clrMapOvr>
  <p:transition>
    <p:wipe dir="r"/>
  </p:transition>
  <p:hf sldNum="0"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1501725892"/>
      </p:ext>
    </p:extLst>
  </p:cSld>
  <p:clrMapOvr>
    <a:masterClrMapping/>
  </p:clrMapOvr>
  <p:transition>
    <p:wipe dir="r"/>
  </p:transition>
  <p:hf sldNum="0"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1136780899"/>
      </p:ext>
    </p:extLst>
  </p:cSld>
  <p:clrMapOvr>
    <a:masterClrMapping/>
  </p:clrMapOvr>
  <p:transition>
    <p:wipe dir="r"/>
  </p:transition>
  <p:hf sldNum="0"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2882301655"/>
      </p:ext>
    </p:extLst>
  </p:cSld>
  <p:clrMapOvr>
    <a:masterClrMapping/>
  </p:clrMapOvr>
  <p:transition>
    <p:wipe dir="r"/>
  </p:transition>
  <p:hf sldNum="0"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smtClean="0"/>
              <a:t>Click to edit Master title style</a:t>
            </a:r>
            <a:endParaRPr lang="de-CH"/>
          </a:p>
        </p:txBody>
      </p:sp>
      <p:sp>
        <p:nvSpPr>
          <p:cNvPr id="3" name="Text Placeholder 2"/>
          <p:cNvSpPr>
            <a:spLocks noGrp="1"/>
          </p:cNvSpPr>
          <p:nvPr>
            <p:ph type="body" sz="half" idx="1"/>
          </p:nvPr>
        </p:nvSpPr>
        <p:spPr>
          <a:xfrm>
            <a:off x="373063" y="1211263"/>
            <a:ext cx="4152900"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quarter" idx="2"/>
          </p:nvPr>
        </p:nvSpPr>
        <p:spPr>
          <a:xfrm>
            <a:off x="4678363" y="1211263"/>
            <a:ext cx="4154487" cy="228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Content Placeholder 4"/>
          <p:cNvSpPr>
            <a:spLocks noGrp="1"/>
          </p:cNvSpPr>
          <p:nvPr>
            <p:ph sz="quarter" idx="3"/>
          </p:nvPr>
        </p:nvSpPr>
        <p:spPr>
          <a:xfrm>
            <a:off x="4678363" y="3652838"/>
            <a:ext cx="4154487" cy="228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6" name="Footer Placeholder 5"/>
          <p:cNvSpPr>
            <a:spLocks noGrp="1"/>
          </p:cNvSpPr>
          <p:nvPr>
            <p:ph type="ftr" sz="quarter" idx="10"/>
          </p:nvPr>
        </p:nvSpPr>
        <p:spPr/>
        <p:txBody>
          <a:bodyPr/>
          <a:lstStyle>
            <a:lvl1pPr>
              <a:defRPr/>
            </a:lvl1pPr>
          </a:lstStyle>
          <a:p>
            <a:pPr>
              <a:defRPr/>
            </a:pPr>
            <a:r>
              <a:rPr lang="en-US" dirty="0">
                <a:solidFill>
                  <a:srgbClr val="626469"/>
                </a:solidFill>
              </a:rPr>
              <a:t>Footer text</a:t>
            </a:r>
          </a:p>
        </p:txBody>
      </p:sp>
    </p:spTree>
    <p:extLst>
      <p:ext uri="{BB962C8B-B14F-4D97-AF65-F5344CB8AC3E}">
        <p14:creationId xmlns:p14="http://schemas.microsoft.com/office/powerpoint/2010/main" val="3577491966"/>
      </p:ext>
    </p:extLst>
  </p:cSld>
  <p:clrMapOvr>
    <a:masterClrMapping/>
  </p:clrMapOvr>
  <p:transition>
    <p:wipe dir="r"/>
  </p:transition>
  <p:hf sldNum="0"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dirty="0" smtClean="0">
                <a:solidFill>
                  <a:srgbClr val="5F7800">
                    <a:lumMod val="75000"/>
                  </a:srgbClr>
                </a:solidFill>
              </a:rPr>
              <a:t>Classification: SECRET</a:t>
            </a:r>
            <a:endParaRPr lang="en-US" dirty="0">
              <a:solidFill>
                <a:srgbClr val="5F7800">
                  <a:lumMod val="75000"/>
                </a:srgbClr>
              </a:solidFill>
            </a:endParaRPr>
          </a:p>
        </p:txBody>
      </p:sp>
    </p:spTree>
    <p:extLst>
      <p:ext uri="{BB962C8B-B14F-4D97-AF65-F5344CB8AC3E}">
        <p14:creationId xmlns:p14="http://schemas.microsoft.com/office/powerpoint/2010/main" val="3184731401"/>
      </p:ext>
    </p:extLst>
  </p:cSld>
  <p:clrMapOvr>
    <a:masterClrMapping/>
  </p:clrMapOvr>
  <p:transition>
    <p:wipe dir="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4182342245"/>
      </p:ext>
    </p:extLst>
  </p:cSld>
  <p:clrMapOvr>
    <a:masterClrMapping/>
  </p:clrMapOvr>
  <p:transition>
    <p:wipe dir="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4121497723"/>
      </p:ext>
    </p:extLst>
  </p:cSld>
  <p:clrMapOvr>
    <a:masterClrMapping/>
  </p:clrMapOvr>
  <p:transition>
    <p:wipe dir="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117785325"/>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600"/>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3048265375"/>
      </p:ext>
    </p:extLst>
  </p:cSld>
  <p:clrMapOvr>
    <a:masterClrMapping/>
  </p:clrMapOvr>
  <p:transition>
    <p:wipe dir="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480606802"/>
      </p:ext>
    </p:extLst>
  </p:cSld>
  <p:clrMapOvr>
    <a:masterClrMapping/>
  </p:clrMapOvr>
  <p:transition>
    <p:wipe dir="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2328816673"/>
      </p:ext>
    </p:extLst>
  </p:cSld>
  <p:clrMapOvr>
    <a:masterClrMapping/>
  </p:clrMapOvr>
  <p:transition>
    <p:wipe dir="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4194828344"/>
      </p:ext>
    </p:extLst>
  </p:cSld>
  <p:clrMapOvr>
    <a:masterClrMapping/>
  </p:clrMapOvr>
  <p:transition>
    <p:wipe dir="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288791036"/>
      </p:ext>
    </p:extLst>
  </p:cSld>
  <p:clrMapOvr>
    <a:masterClrMapping/>
  </p:clrMapOvr>
  <p:transition>
    <p:wipe dir="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1638099503"/>
      </p:ext>
    </p:extLst>
  </p:cSld>
  <p:clrMapOvr>
    <a:masterClrMapping/>
  </p:clrMapOvr>
  <p:transition>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1238731993"/>
      </p:ext>
    </p:extLst>
  </p:cSld>
  <p:clrMapOvr>
    <a:masterClrMapping/>
  </p:clrMapOvr>
  <p:transition>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0"/>
            <a:ext cx="915035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3"/>
          <p:cNvSpPr>
            <a:spLocks noGrp="1" noChangeArrowheads="1"/>
          </p:cNvSpPr>
          <p:nvPr>
            <p:ph type="subTitle" sz="quarter" idx="1"/>
          </p:nvPr>
        </p:nvSpPr>
        <p:spPr>
          <a:xfrm>
            <a:off x="685800" y="5927725"/>
            <a:ext cx="7199313"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5" name="TextBox 4"/>
          <p:cNvSpPr txBox="1"/>
          <p:nvPr userDrawn="1">
            <p:custDataLst>
              <p:tags r:id="rId1"/>
            </p:custDataLst>
          </p:nvPr>
        </p:nvSpPr>
        <p:spPr>
          <a:xfrm>
            <a:off x="2228850" y="6310312"/>
            <a:ext cx="4010025" cy="390525"/>
          </a:xfrm>
          <a:prstGeom prst="rect">
            <a:avLst/>
          </a:prstGeom>
          <a:noFill/>
        </p:spPr>
        <p:txBody>
          <a:bodyPr wrap="none" rtlCol="0">
            <a:normAutofit/>
          </a:bodyPr>
          <a:lstStyle/>
          <a:p>
            <a:pPr algn="ctr">
              <a:spcBef>
                <a:spcPts val="0"/>
              </a:spcBef>
              <a:spcAft>
                <a:spcPts val="600"/>
              </a:spcAft>
            </a:pPr>
            <a:r>
              <a:rPr lang="de-CH" sz="1200" dirty="0" smtClean="0">
                <a:solidFill>
                  <a:srgbClr val="626469"/>
                </a:solidFill>
                <a:cs typeface="Arial" charset="0"/>
              </a:rPr>
              <a:t>Classification: CONFIDENTIAL</a:t>
            </a:r>
          </a:p>
        </p:txBody>
      </p:sp>
    </p:spTree>
    <p:extLst>
      <p:ext uri="{BB962C8B-B14F-4D97-AF65-F5344CB8AC3E}">
        <p14:creationId xmlns:p14="http://schemas.microsoft.com/office/powerpoint/2010/main" val="3022408512"/>
      </p:ext>
    </p:extLst>
  </p:cSld>
  <p:clrMapOvr>
    <a:masterClrMapping/>
  </p:clrMapOvr>
  <p:transition>
    <p:wipe dir="r"/>
  </p:transition>
  <p:hf sldNum="0"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92875"/>
            <a:ext cx="5753100" cy="376238"/>
          </a:xfrm>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692339020"/>
      </p:ext>
    </p:extLst>
  </p:cSld>
  <p:clrMapOvr>
    <a:masterClrMapping/>
  </p:clrMapOvr>
  <p:transition>
    <p:wipe dir="r"/>
  </p:transition>
  <p:hf sldNum="0"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2359982366"/>
      </p:ext>
    </p:extLst>
  </p:cSld>
  <p:clrMapOvr>
    <a:masterClrMapping/>
  </p:clrMapOvr>
  <p:transition>
    <p:wipe dir="r"/>
  </p:transition>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Light Orange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spTree>
    <p:extLst>
      <p:ext uri="{BB962C8B-B14F-4D97-AF65-F5344CB8AC3E}">
        <p14:creationId xmlns:p14="http://schemas.microsoft.com/office/powerpoint/2010/main" val="1891094192"/>
      </p:ext>
    </p:extLst>
  </p:cSld>
  <p:clrMapOvr>
    <a:masterClrMapping/>
  </p:clrMapOvr>
  <p:transition>
    <p:wipe dir="r"/>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268895127"/>
      </p:ext>
    </p:extLst>
  </p:cSld>
  <p:clrMapOvr>
    <a:masterClrMapping/>
  </p:clrMapOvr>
  <p:transition>
    <p:wipe dir="r"/>
  </p:transition>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138505836"/>
      </p:ext>
    </p:extLst>
  </p:cSld>
  <p:clrMapOvr>
    <a:masterClrMapping/>
  </p:clrMapOvr>
  <p:transition>
    <p:wipe dir="r"/>
  </p:transition>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1904428478"/>
      </p:ext>
    </p:extLst>
  </p:cSld>
  <p:clrMapOvr>
    <a:masterClrMapping/>
  </p:clrMapOvr>
  <p:transition>
    <p:wipe dir="r"/>
  </p:transition>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2645481656"/>
      </p:ext>
    </p:extLst>
  </p:cSld>
  <p:clrMapOvr>
    <a:masterClrMapping/>
  </p:clrMapOvr>
  <p:transition>
    <p:wipe dir="r"/>
  </p:transition>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915996321"/>
      </p:ext>
    </p:extLst>
  </p:cSld>
  <p:clrMapOvr>
    <a:masterClrMapping/>
  </p:clrMapOvr>
  <p:transition>
    <p:wipe dir="r"/>
  </p:transition>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1976612400"/>
      </p:ext>
    </p:extLst>
  </p:cSld>
  <p:clrMapOvr>
    <a:masterClrMapping/>
  </p:clrMapOvr>
  <p:transition>
    <p:wipe dir="r"/>
  </p:transition>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3792894221"/>
      </p:ext>
    </p:extLst>
  </p:cSld>
  <p:clrMapOvr>
    <a:masterClrMapping/>
  </p:clrMapOvr>
  <p:transition>
    <p:wipe dir="r"/>
  </p:transition>
  <p:hf sldNum="0"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1618173320"/>
      </p:ext>
    </p:extLst>
  </p:cSld>
  <p:clrMapOvr>
    <a:masterClrMapping/>
  </p:clrMapOvr>
  <p:transition>
    <p:wipe dir="r"/>
  </p:transition>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smtClean="0"/>
              <a:t>Click to edit Master title style</a:t>
            </a:r>
            <a:endParaRPr lang="de-CH"/>
          </a:p>
        </p:txBody>
      </p:sp>
      <p:sp>
        <p:nvSpPr>
          <p:cNvPr id="3" name="Text Placeholder 2"/>
          <p:cNvSpPr>
            <a:spLocks noGrp="1"/>
          </p:cNvSpPr>
          <p:nvPr>
            <p:ph type="body" sz="half" idx="1"/>
          </p:nvPr>
        </p:nvSpPr>
        <p:spPr>
          <a:xfrm>
            <a:off x="373063" y="1211263"/>
            <a:ext cx="4152900"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quarter" idx="2"/>
          </p:nvPr>
        </p:nvSpPr>
        <p:spPr>
          <a:xfrm>
            <a:off x="4678363" y="1211263"/>
            <a:ext cx="4154487" cy="228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Content Placeholder 4"/>
          <p:cNvSpPr>
            <a:spLocks noGrp="1"/>
          </p:cNvSpPr>
          <p:nvPr>
            <p:ph sz="quarter" idx="3"/>
          </p:nvPr>
        </p:nvSpPr>
        <p:spPr>
          <a:xfrm>
            <a:off x="4678363" y="3652838"/>
            <a:ext cx="4154487" cy="22891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6" name="Footer Placeholder 5"/>
          <p:cNvSpPr>
            <a:spLocks noGrp="1"/>
          </p:cNvSpPr>
          <p:nvPr>
            <p:ph type="ftr" sz="quarter" idx="10"/>
          </p:nvPr>
        </p:nvSpPr>
        <p:spPr/>
        <p:txBody>
          <a:bodyPr/>
          <a:lstStyle>
            <a:lvl1pPr>
              <a:defRPr/>
            </a:lvl1pPr>
          </a:lstStyle>
          <a:p>
            <a:pPr>
              <a:defRPr/>
            </a:pPr>
            <a:r>
              <a:rPr lang="en-US" dirty="0">
                <a:solidFill>
                  <a:srgbClr val="626469"/>
                </a:solidFill>
              </a:rPr>
              <a:t>Footer text</a:t>
            </a:r>
          </a:p>
        </p:txBody>
      </p:sp>
    </p:spTree>
    <p:extLst>
      <p:ext uri="{BB962C8B-B14F-4D97-AF65-F5344CB8AC3E}">
        <p14:creationId xmlns:p14="http://schemas.microsoft.com/office/powerpoint/2010/main" val="2251486368"/>
      </p:ext>
    </p:extLst>
  </p:cSld>
  <p:clrMapOvr>
    <a:masterClrMapping/>
  </p:clrMapOvr>
  <p:transition>
    <p:wipe dir="r"/>
  </p:transition>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smtClean="0">
                <a:solidFill>
                  <a:srgbClr val="5F7800">
                    <a:lumMod val="75000"/>
                  </a:srgbClr>
                </a:solidFill>
              </a:rPr>
              <a:t>Classification: Public</a:t>
            </a:r>
            <a:endParaRPr lang="en-US" dirty="0">
              <a:solidFill>
                <a:srgbClr val="5F7800">
                  <a:lumMod val="75000"/>
                </a:srgbClr>
              </a:solidFill>
            </a:endParaRPr>
          </a:p>
        </p:txBody>
      </p:sp>
    </p:spTree>
    <p:extLst>
      <p:ext uri="{BB962C8B-B14F-4D97-AF65-F5344CB8AC3E}">
        <p14:creationId xmlns:p14="http://schemas.microsoft.com/office/powerpoint/2010/main" val="1911426302"/>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71475" y="88900"/>
            <a:ext cx="8455025" cy="81280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371475" y="1211263"/>
            <a:ext cx="8480425" cy="4779962"/>
          </a:xfrm>
        </p:spPr>
        <p:txBody>
          <a:bodyPr/>
          <a:lstStyle/>
          <a:p>
            <a:pPr lvl="0"/>
            <a:endParaRPr lang="en-US" noProof="0" smtClean="0"/>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3538045368"/>
      </p:ext>
    </p:extLst>
  </p:cSld>
  <p:clrMapOvr>
    <a:masterClrMapping/>
  </p:clrMapOvr>
  <p:transition>
    <p:wipe dir="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371735286"/>
      </p:ext>
    </p:extLst>
  </p:cSld>
  <p:clrMapOvr>
    <a:masterClrMapping/>
  </p:clrMapOvr>
  <p:transition>
    <p:wipe dir="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229254115"/>
      </p:ext>
    </p:extLst>
  </p:cSld>
  <p:clrMapOvr>
    <a:masterClrMapping/>
  </p:clrMapOvr>
  <p:transition>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4109540258"/>
      </p:ext>
    </p:extLst>
  </p:cSld>
  <p:clrMapOvr>
    <a:masterClrMapping/>
  </p:clrMapOvr>
  <p:transition>
    <p:wipe dir="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350245520"/>
      </p:ext>
    </p:extLst>
  </p:cSld>
  <p:clrMapOvr>
    <a:masterClrMapping/>
  </p:clrMapOvr>
  <p:transition>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477064968"/>
      </p:ext>
    </p:extLst>
  </p:cSld>
  <p:clrMapOvr>
    <a:masterClrMapping/>
  </p:clrMapOvr>
  <p:transition>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866439860"/>
      </p:ext>
    </p:extLst>
  </p:cSld>
  <p:clrMapOvr>
    <a:masterClrMapping/>
  </p:clrMapOvr>
  <p:transition>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13867766"/>
      </p:ext>
    </p:extLst>
  </p:cSld>
  <p:clrMapOvr>
    <a:masterClrMapping/>
  </p:clrMapOvr>
  <p:transition>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749332462"/>
      </p:ext>
    </p:extLst>
  </p:cSld>
  <p:clrMapOvr>
    <a:masterClrMapping/>
  </p:clrMapOvr>
  <p:transition>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440275931"/>
      </p:ext>
    </p:extLst>
  </p:cSld>
  <p:clrMapOvr>
    <a:masterClrMapping/>
  </p:clrMapOvr>
  <p:transition>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4279270"/>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Titelbild neu"/>
          <p:cNvPicPr>
            <a:picLocks noChangeAspect="1" noChangeArrowheads="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Picture 5" descr="Logo neu"/>
          <p:cNvPicPr>
            <a:picLocks noChangeArrowheads="1"/>
          </p:cNvPicPr>
          <p:nvPr/>
        </p:nvPicPr>
        <p:blipFill>
          <a:blip r:embed="rId3" cstate="print"/>
          <a:srcRect/>
          <a:stretch>
            <a:fillRect/>
          </a:stretch>
        </p:blipFill>
        <p:spPr bwMode="auto">
          <a:xfrm>
            <a:off x="6340475" y="2949575"/>
            <a:ext cx="1363663" cy="406400"/>
          </a:xfrm>
          <a:prstGeom prst="rect">
            <a:avLst/>
          </a:prstGeom>
          <a:noFill/>
          <a:ln w="9525">
            <a:noFill/>
            <a:miter lim="800000"/>
            <a:headEnd/>
            <a:tailEnd/>
          </a:ln>
        </p:spPr>
      </p:pic>
      <p:sp>
        <p:nvSpPr>
          <p:cNvPr id="5122" name="Rectangle 2"/>
          <p:cNvSpPr>
            <a:spLocks noGrp="1" noChangeArrowheads="1"/>
          </p:cNvSpPr>
          <p:nvPr>
            <p:ph type="subTitle" sz="quarter" idx="1"/>
          </p:nvPr>
        </p:nvSpPr>
        <p:spPr>
          <a:xfrm>
            <a:off x="685801" y="5927725"/>
            <a:ext cx="4212000" cy="360363"/>
          </a:xfrm>
        </p:spPr>
        <p:txBody>
          <a:bodyPr wrap="none">
            <a:normAutofit/>
          </a:bodyPr>
          <a:lstStyle>
            <a:lvl1pPr marL="0" indent="0">
              <a:buFont typeface="Arial" charset="0"/>
              <a:buNone/>
              <a:defRPr sz="1200">
                <a:solidFill>
                  <a:schemeClr val="bg1"/>
                </a:solidFill>
              </a:defRPr>
            </a:lvl1pPr>
          </a:lstStyle>
          <a:p>
            <a:r>
              <a:rPr lang="en-US" dirty="0" smtClean="0"/>
              <a:t>Click to edit Master subtitle style</a:t>
            </a:r>
            <a:endParaRPr lang="de-DE" dirty="0"/>
          </a:p>
        </p:txBody>
      </p:sp>
      <p:sp>
        <p:nvSpPr>
          <p:cNvPr id="5123" name="Rectangle 3"/>
          <p:cNvSpPr>
            <a:spLocks noGrp="1" noChangeArrowheads="1"/>
          </p:cNvSpPr>
          <p:nvPr>
            <p:ph type="ctrTitle" sz="quarter"/>
          </p:nvPr>
        </p:nvSpPr>
        <p:spPr>
          <a:xfrm>
            <a:off x="687388" y="4035425"/>
            <a:ext cx="7197725" cy="422275"/>
          </a:xfrm>
        </p:spPr>
        <p:txBody>
          <a:bodyPr anchor="t">
            <a:normAutofit/>
          </a:bodyPr>
          <a:lstStyle>
            <a:lvl1pPr>
              <a:defRPr sz="2800">
                <a:solidFill>
                  <a:schemeClr val="bg1"/>
                </a:solidFill>
              </a:defRPr>
            </a:lvl1pPr>
          </a:lstStyle>
          <a:p>
            <a:r>
              <a:rPr lang="en-US" dirty="0" smtClean="0"/>
              <a:t>Click to edit Master title style</a:t>
            </a:r>
            <a:endParaRPr lang="en-US" dirty="0"/>
          </a:p>
        </p:txBody>
      </p:sp>
      <p:sp>
        <p:nvSpPr>
          <p:cNvPr id="7"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bg1"/>
                </a:solidFill>
              </a:defRPr>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73065" y="357210"/>
            <a:ext cx="6631522" cy="2044795"/>
          </a:xfrm>
        </p:spPr>
        <p:txBody>
          <a:bodyPr anchor="t" anchorCtr="0"/>
          <a:lstStyle>
            <a:lvl1pPr algn="l" defTabSz="957081" rtl="0" eaLnBrk="1" fontAlgn="base" hangingPunct="1">
              <a:lnSpc>
                <a:spcPct val="90000"/>
              </a:lnSpc>
              <a:spcBef>
                <a:spcPct val="0"/>
              </a:spcBef>
              <a:spcAft>
                <a:spcPct val="0"/>
              </a:spcAft>
              <a:defRPr lang="en-US" sz="9600" b="1" dirty="0">
                <a:solidFill>
                  <a:schemeClr val="accent2"/>
                </a:solidFill>
                <a:latin typeface="+mn-lt"/>
                <a:ea typeface="+mj-ea"/>
                <a:cs typeface="+mj-cs"/>
              </a:defRPr>
            </a:lvl1pPr>
          </a:lstStyle>
          <a:p>
            <a:r>
              <a:rPr lang="en-US" dirty="0" smtClean="0"/>
              <a:t>Click to edit Master title style</a:t>
            </a:r>
            <a:endParaRPr lang="en-US" dirty="0"/>
          </a:p>
        </p:txBody>
      </p:sp>
      <p:cxnSp>
        <p:nvCxnSpPr>
          <p:cNvPr id="4" name="Straight Connector 3"/>
          <p:cNvCxnSpPr/>
          <p:nvPr userDrawn="1"/>
        </p:nvCxnSpPr>
        <p:spPr bwMode="auto">
          <a:xfrm>
            <a:off x="327025"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1264964605"/>
      </p:ext>
    </p:extLst>
  </p:cSld>
  <p:clrMapOvr>
    <a:masterClrMapping/>
  </p:clrMapOvr>
  <p:transition>
    <p:wipe dir="r"/>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Light green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2"/>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3566537063"/>
      </p:ext>
    </p:extLst>
  </p:cSld>
  <p:clrMapOvr>
    <a:masterClrMapping/>
  </p:clrMapOvr>
  <p:transition>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3063" y="1339849"/>
            <a:ext cx="8459787" cy="4602163"/>
          </a:xfrm>
        </p:spPr>
        <p:txBody>
          <a:bodyPr/>
          <a:lstStyle>
            <a:lvl1pPr>
              <a:spcBef>
                <a:spcPts val="1200"/>
              </a:spcBef>
              <a:spcAft>
                <a:spcPts val="0"/>
              </a:spcAft>
              <a:buClr>
                <a:schemeClr val="bg2"/>
              </a:buClr>
              <a:defRPr sz="3200"/>
            </a:lvl1pPr>
            <a:lvl2pPr>
              <a:spcBef>
                <a:spcPts val="600"/>
              </a:spcBef>
              <a:spcAft>
                <a:spcPts val="0"/>
              </a:spcAft>
              <a:buClr>
                <a:schemeClr val="bg2"/>
              </a:buClr>
              <a:defRPr sz="2800"/>
            </a:lvl2pPr>
            <a:lvl3pPr>
              <a:spcBef>
                <a:spcPts val="600"/>
              </a:spcBef>
              <a:spcAft>
                <a:spcPts val="0"/>
              </a:spcAft>
              <a:buClr>
                <a:schemeClr val="bg2"/>
              </a:buClr>
              <a:defRPr sz="2400"/>
            </a:lvl3pPr>
            <a:lvl4pPr>
              <a:spcBef>
                <a:spcPts val="600"/>
              </a:spcBef>
              <a:spcAft>
                <a:spcPts val="0"/>
              </a:spcAft>
              <a:buClr>
                <a:schemeClr val="bg2"/>
              </a:buClr>
              <a:defRPr sz="2000"/>
            </a:lvl4pPr>
            <a:lvl5pPr>
              <a:spcBef>
                <a:spcPts val="600"/>
              </a:spcBef>
              <a:spcAft>
                <a:spcPts val="0"/>
              </a:spcAft>
              <a:buClr>
                <a:schemeClr val="bg2"/>
              </a:buCl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Title 1"/>
          <p:cNvSpPr>
            <a:spLocks noGrp="1"/>
          </p:cNvSpPr>
          <p:nvPr>
            <p:ph type="title"/>
          </p:nvPr>
        </p:nvSpPr>
        <p:spPr>
          <a:xfrm>
            <a:off x="323300" y="287114"/>
            <a:ext cx="8655600" cy="512448"/>
          </a:xfrm>
        </p:spPr>
        <p:txBody>
          <a:bodyPr wrap="square"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5"/>
            </a:solidFill>
            <a:prstDash val="solid"/>
            <a:round/>
            <a:headEnd type="none" w="sm" len="sm"/>
            <a:tailEnd type="none" w="sm" len="sm"/>
          </a:ln>
          <a:effectLst/>
        </p:spPr>
      </p:cxnSp>
    </p:spTree>
    <p:extLst>
      <p:ext uri="{BB962C8B-B14F-4D97-AF65-F5344CB8AC3E}">
        <p14:creationId xmlns:p14="http://schemas.microsoft.com/office/powerpoint/2010/main" val="2150719696"/>
      </p:ext>
    </p:extLst>
  </p:cSld>
  <p:clrMapOvr>
    <a:masterClrMapping/>
  </p:clrMapOvr>
  <p:transition>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smtClean="0"/>
              <a:t>Click to edit Master title style</a:t>
            </a:r>
            <a:endParaRPr lang="de-CH"/>
          </a:p>
        </p:txBody>
      </p:sp>
      <p:sp>
        <p:nvSpPr>
          <p:cNvPr id="3" name="Text Placeholder 2"/>
          <p:cNvSpPr>
            <a:spLocks noGrp="1"/>
          </p:cNvSpPr>
          <p:nvPr>
            <p:ph type="body" sz="half" idx="1"/>
          </p:nvPr>
        </p:nvSpPr>
        <p:spPr>
          <a:xfrm>
            <a:off x="373063" y="1211263"/>
            <a:ext cx="4152900" cy="4730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quarter" idx="2"/>
          </p:nvPr>
        </p:nvSpPr>
        <p:spPr>
          <a:xfrm>
            <a:off x="4678363" y="1211263"/>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Content Placeholder 4"/>
          <p:cNvSpPr>
            <a:spLocks noGrp="1"/>
          </p:cNvSpPr>
          <p:nvPr>
            <p:ph sz="quarter" idx="3"/>
          </p:nvPr>
        </p:nvSpPr>
        <p:spPr>
          <a:xfrm>
            <a:off x="4678363" y="3652838"/>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6" name="Rectangle 4"/>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177936165"/>
      </p:ext>
    </p:extLst>
  </p:cSld>
  <p:clrMapOvr>
    <a:masterClrMapping/>
  </p:clrMapOvr>
  <p:transition>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88900"/>
            <a:ext cx="8455025" cy="8128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71476" y="1211263"/>
            <a:ext cx="4164013"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7888" y="1211263"/>
            <a:ext cx="4164012"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546443337"/>
      </p:ext>
    </p:extLst>
  </p:cSld>
  <p:clrMapOvr>
    <a:masterClrMapping/>
  </p:clrMapOvr>
  <p:transition>
    <p:wipe dir="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smtClean="0">
                <a:solidFill>
                  <a:srgbClr val="5F7800">
                    <a:lumMod val="75000"/>
                  </a:srgbClr>
                </a:solidFill>
              </a:rPr>
              <a:t>Classification: Public</a:t>
            </a:r>
            <a:endParaRPr lang="en-US" dirty="0">
              <a:solidFill>
                <a:srgbClr val="5F7800">
                  <a:lumMod val="75000"/>
                </a:srgbClr>
              </a:solidFill>
            </a:endParaRPr>
          </a:p>
        </p:txBody>
      </p:sp>
    </p:spTree>
    <p:extLst>
      <p:ext uri="{BB962C8B-B14F-4D97-AF65-F5344CB8AC3E}">
        <p14:creationId xmlns:p14="http://schemas.microsoft.com/office/powerpoint/2010/main" val="1514734932"/>
      </p:ext>
    </p:extLst>
  </p:cSld>
  <p:clrMapOvr>
    <a:masterClrMapping/>
  </p:clrMapOvr>
  <p:transition>
    <p:wipe dir="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228851043"/>
      </p:ext>
    </p:extLst>
  </p:cSld>
  <p:clrMapOvr>
    <a:masterClrMapping/>
  </p:clrMapOvr>
  <p:transition>
    <p:wipe dir="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120675499"/>
      </p:ext>
    </p:extLst>
  </p:cSld>
  <p:clrMapOvr>
    <a:masterClrMapping/>
  </p:clrMapOvr>
  <p:transition>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991525447"/>
      </p:ext>
    </p:extLst>
  </p:cSld>
  <p:clrMapOvr>
    <a:masterClrMapping/>
  </p:clrMapOvr>
  <p:transition>
    <p:wipe dir="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024248309"/>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de-CH"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Rectangle 4"/>
          <p:cNvSpPr>
            <a:spLocks noGrp="1" noChangeArrowheads="1"/>
          </p:cNvSpPr>
          <p:nvPr>
            <p:ph type="ftr" sz="quarter" idx="10"/>
          </p:nvPr>
        </p:nvSpPr>
        <p:spPr>
          <a:xfrm>
            <a:off x="792163" y="6460520"/>
            <a:ext cx="5753100" cy="376238"/>
          </a:xfrm>
          <a:ln/>
        </p:spPr>
        <p:txBody>
          <a:bodyPr anchor="ctr">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342120406"/>
      </p:ext>
    </p:extLst>
  </p:cSld>
  <p:clrMapOvr>
    <a:masterClrMapping/>
  </p:clrMapOvr>
  <p:transition>
    <p:wipe dir="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439560993"/>
      </p:ext>
    </p:extLst>
  </p:cSld>
  <p:clrMapOvr>
    <a:masterClrMapping/>
  </p:clrMapOvr>
  <p:transition>
    <p:wipe dir="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595917586"/>
      </p:ext>
    </p:extLst>
  </p:cSld>
  <p:clrMapOvr>
    <a:masterClrMapping/>
  </p:clrMapOvr>
  <p:transition>
    <p:wipe dir="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469932372"/>
      </p:ext>
    </p:extLst>
  </p:cSld>
  <p:clrMapOvr>
    <a:masterClrMapping/>
  </p:clrMapOvr>
  <p:transition>
    <p:wipe dir="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807853430"/>
      </p:ext>
    </p:extLst>
  </p:cSld>
  <p:clrMapOvr>
    <a:masterClrMapping/>
  </p:clrMapOvr>
  <p:transition>
    <p:wipe dir="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71107900"/>
      </p:ext>
    </p:extLst>
  </p:cSld>
  <p:clrMapOvr>
    <a:masterClrMapping/>
  </p:clrMapOvr>
  <p:transition>
    <p:wipe dir="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73065" y="357210"/>
            <a:ext cx="6631522" cy="2044795"/>
          </a:xfrm>
        </p:spPr>
        <p:txBody>
          <a:bodyPr anchor="t" anchorCtr="0"/>
          <a:lstStyle>
            <a:lvl1pPr algn="l" defTabSz="957081" rtl="0" eaLnBrk="1" fontAlgn="base" hangingPunct="1">
              <a:lnSpc>
                <a:spcPct val="90000"/>
              </a:lnSpc>
              <a:spcBef>
                <a:spcPct val="0"/>
              </a:spcBef>
              <a:spcAft>
                <a:spcPct val="0"/>
              </a:spcAft>
              <a:defRPr lang="en-US" sz="9600" b="1" dirty="0">
                <a:solidFill>
                  <a:schemeClr val="accent2"/>
                </a:solidFill>
                <a:latin typeface="+mn-lt"/>
                <a:ea typeface="+mj-ea"/>
                <a:cs typeface="+mj-cs"/>
              </a:defRPr>
            </a:lvl1pPr>
          </a:lstStyle>
          <a:p>
            <a:r>
              <a:rPr lang="en-US" dirty="0" smtClean="0"/>
              <a:t>Click to edit Master title style</a:t>
            </a:r>
            <a:endParaRPr lang="en-US" dirty="0"/>
          </a:p>
        </p:txBody>
      </p:sp>
      <p:cxnSp>
        <p:nvCxnSpPr>
          <p:cNvPr id="4" name="Straight Connector 3"/>
          <p:cNvCxnSpPr/>
          <p:nvPr userDrawn="1"/>
        </p:nvCxnSpPr>
        <p:spPr bwMode="auto">
          <a:xfrm>
            <a:off x="327025"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3139915084"/>
      </p:ext>
    </p:extLst>
  </p:cSld>
  <p:clrMapOvr>
    <a:masterClrMapping/>
  </p:clrMapOvr>
  <p:transition>
    <p:wipe dir="r"/>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Light green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2"/>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137196813"/>
      </p:ext>
    </p:extLst>
  </p:cSld>
  <p:clrMapOvr>
    <a:masterClrMapping/>
  </p:clrMapOvr>
  <p:transition>
    <p:wipe dir="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Light Orange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spTree>
    <p:extLst>
      <p:ext uri="{BB962C8B-B14F-4D97-AF65-F5344CB8AC3E}">
        <p14:creationId xmlns:p14="http://schemas.microsoft.com/office/powerpoint/2010/main" val="2005491308"/>
      </p:ext>
    </p:extLst>
  </p:cSld>
  <p:clrMapOvr>
    <a:masterClrMapping/>
  </p:clrMapOvr>
  <p:transition>
    <p:wipe dir="r"/>
  </p:transition>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3063" y="1339849"/>
            <a:ext cx="8459787" cy="4602163"/>
          </a:xfrm>
        </p:spPr>
        <p:txBody>
          <a:bodyPr/>
          <a:lstStyle>
            <a:lvl1pPr>
              <a:spcBef>
                <a:spcPts val="1200"/>
              </a:spcBef>
              <a:spcAft>
                <a:spcPts val="0"/>
              </a:spcAft>
              <a:buClr>
                <a:schemeClr val="bg2"/>
              </a:buClr>
              <a:defRPr sz="3200"/>
            </a:lvl1pPr>
            <a:lvl2pPr>
              <a:spcBef>
                <a:spcPts val="600"/>
              </a:spcBef>
              <a:spcAft>
                <a:spcPts val="0"/>
              </a:spcAft>
              <a:buClr>
                <a:schemeClr val="bg2"/>
              </a:buClr>
              <a:defRPr sz="2800"/>
            </a:lvl2pPr>
            <a:lvl3pPr>
              <a:spcBef>
                <a:spcPts val="600"/>
              </a:spcBef>
              <a:spcAft>
                <a:spcPts val="0"/>
              </a:spcAft>
              <a:buClr>
                <a:schemeClr val="bg2"/>
              </a:buClr>
              <a:defRPr sz="2400"/>
            </a:lvl3pPr>
            <a:lvl4pPr>
              <a:spcBef>
                <a:spcPts val="600"/>
              </a:spcBef>
              <a:spcAft>
                <a:spcPts val="0"/>
              </a:spcAft>
              <a:buClr>
                <a:schemeClr val="bg2"/>
              </a:buClr>
              <a:defRPr sz="2000"/>
            </a:lvl4pPr>
            <a:lvl5pPr>
              <a:spcBef>
                <a:spcPts val="600"/>
              </a:spcBef>
              <a:spcAft>
                <a:spcPts val="0"/>
              </a:spcAft>
              <a:buClr>
                <a:schemeClr val="bg2"/>
              </a:buCl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Title 1"/>
          <p:cNvSpPr>
            <a:spLocks noGrp="1"/>
          </p:cNvSpPr>
          <p:nvPr>
            <p:ph type="title"/>
          </p:nvPr>
        </p:nvSpPr>
        <p:spPr>
          <a:xfrm>
            <a:off x="323300" y="287114"/>
            <a:ext cx="8655600" cy="512448"/>
          </a:xfrm>
        </p:spPr>
        <p:txBody>
          <a:bodyPr wrap="square"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5"/>
            </a:solidFill>
            <a:prstDash val="solid"/>
            <a:round/>
            <a:headEnd type="none" w="sm" len="sm"/>
            <a:tailEnd type="none" w="sm" len="sm"/>
          </a:ln>
          <a:effectLst/>
        </p:spPr>
      </p:cxnSp>
    </p:spTree>
    <p:extLst>
      <p:ext uri="{BB962C8B-B14F-4D97-AF65-F5344CB8AC3E}">
        <p14:creationId xmlns:p14="http://schemas.microsoft.com/office/powerpoint/2010/main" val="2700122953"/>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dirty="0"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
        <p:nvSpPr>
          <p:cNvPr id="5" name="Rectangle 4"/>
          <p:cNvSpPr>
            <a:spLocks noGrp="1" noChangeArrowheads="1"/>
          </p:cNvSpPr>
          <p:nvPr>
            <p:ph type="ftr" sz="quarter" idx="10"/>
          </p:nvPr>
        </p:nvSpPr>
        <p:spPr>
          <a:xfrm>
            <a:off x="792163" y="6460520"/>
            <a:ext cx="5753100" cy="376238"/>
          </a:xfrm>
          <a:ln/>
        </p:spPr>
        <p:txBody>
          <a:bodyPr anchor="ctr">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smtClean="0"/>
              <a:t>Click to edit Master title style</a:t>
            </a:r>
            <a:endParaRPr lang="de-CH"/>
          </a:p>
        </p:txBody>
      </p:sp>
      <p:sp>
        <p:nvSpPr>
          <p:cNvPr id="3" name="Text Placeholder 2"/>
          <p:cNvSpPr>
            <a:spLocks noGrp="1"/>
          </p:cNvSpPr>
          <p:nvPr>
            <p:ph type="body" sz="half" idx="1"/>
          </p:nvPr>
        </p:nvSpPr>
        <p:spPr>
          <a:xfrm>
            <a:off x="373063" y="1211263"/>
            <a:ext cx="4152900" cy="4730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quarter" idx="2"/>
          </p:nvPr>
        </p:nvSpPr>
        <p:spPr>
          <a:xfrm>
            <a:off x="4678363" y="1211263"/>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Content Placeholder 4"/>
          <p:cNvSpPr>
            <a:spLocks noGrp="1"/>
          </p:cNvSpPr>
          <p:nvPr>
            <p:ph sz="quarter" idx="3"/>
          </p:nvPr>
        </p:nvSpPr>
        <p:spPr>
          <a:xfrm>
            <a:off x="4678363" y="3652838"/>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6" name="Rectangle 4"/>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682077434"/>
      </p:ext>
    </p:extLst>
  </p:cSld>
  <p:clrMapOvr>
    <a:masterClrMapping/>
  </p:clrMapOvr>
  <p:transition>
    <p:wipe dir="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88900"/>
            <a:ext cx="8455025" cy="8128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71476" y="1211263"/>
            <a:ext cx="4164013"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7888" y="1211263"/>
            <a:ext cx="4164012"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080241947"/>
      </p:ext>
    </p:extLst>
  </p:cSld>
  <p:clrMapOvr>
    <a:masterClrMapping/>
  </p:clrMapOvr>
  <p:transition>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dirty="0" smtClean="0">
                <a:solidFill>
                  <a:srgbClr val="5F7800">
                    <a:lumMod val="75000"/>
                  </a:srgbClr>
                </a:solidFill>
              </a:rPr>
              <a:t>Classification: PUBLIC USE</a:t>
            </a:r>
            <a:endParaRPr lang="en-US" dirty="0">
              <a:solidFill>
                <a:srgbClr val="5F7800">
                  <a:lumMod val="75000"/>
                </a:srgbClr>
              </a:solidFill>
            </a:endParaRPr>
          </a:p>
        </p:txBody>
      </p:sp>
    </p:spTree>
    <p:extLst>
      <p:ext uri="{BB962C8B-B14F-4D97-AF65-F5344CB8AC3E}">
        <p14:creationId xmlns:p14="http://schemas.microsoft.com/office/powerpoint/2010/main" val="3648637506"/>
      </p:ext>
    </p:extLst>
  </p:cSld>
  <p:clrMapOvr>
    <a:masterClrMapping/>
  </p:clrMapOvr>
  <p:transition>
    <p:wipe dir="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3730326679"/>
      </p:ext>
    </p:extLst>
  </p:cSld>
  <p:clrMapOvr>
    <a:masterClrMapping/>
  </p:clrMapOvr>
  <p:transition>
    <p:wipe dir="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3145164189"/>
      </p:ext>
    </p:extLst>
  </p:cSld>
  <p:clrMapOvr>
    <a:masterClrMapping/>
  </p:clrMapOvr>
  <p:transition>
    <p:wipe dir="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buFont typeface="Arial" pitchFamily="34" charset="0"/>
              <a:buChar cha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828119777"/>
      </p:ext>
    </p:extLst>
  </p:cSld>
  <p:clrMapOvr>
    <a:masterClrMapping/>
  </p:clrMapOvr>
  <p:transition>
    <p:wipe dir="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93438751"/>
      </p:ext>
    </p:extLst>
  </p:cSld>
  <p:clrMapOvr>
    <a:masterClrMapping/>
  </p:clrMapOvr>
  <p:transition>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1585682565"/>
      </p:ext>
    </p:extLst>
  </p:cSld>
  <p:clrMapOvr>
    <a:masterClrMapping/>
  </p:clrMapOvr>
  <p:transition>
    <p:wipe dir="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1811873097"/>
      </p:ext>
    </p:extLst>
  </p:cSld>
  <p:clrMapOvr>
    <a:masterClrMapping/>
  </p:clrMapOvr>
  <p:transition>
    <p:wipe dir="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1147003625"/>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6" name="Rectangle 4"/>
          <p:cNvSpPr>
            <a:spLocks noGrp="1" noChangeArrowheads="1"/>
          </p:cNvSpPr>
          <p:nvPr>
            <p:ph type="ftr" sz="quarter" idx="10"/>
          </p:nvPr>
        </p:nvSpPr>
        <p:spPr>
          <a:xfrm>
            <a:off x="792163" y="6460520"/>
            <a:ext cx="5753100" cy="376238"/>
          </a:xfrm>
          <a:ln/>
        </p:spPr>
        <p:txBody>
          <a:bodyPr anchor="ctr">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1759447791"/>
      </p:ext>
    </p:extLst>
  </p:cSld>
  <p:clrMapOvr>
    <a:masterClrMapping/>
  </p:clrMapOvr>
  <p:transition>
    <p:wipe dir="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1111752581"/>
      </p:ext>
    </p:extLst>
  </p:cSld>
  <p:clrMapOvr>
    <a:masterClrMapping/>
  </p:clrMapOvr>
  <p:transition>
    <p:wipe dir="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2426507689"/>
      </p:ext>
    </p:extLst>
  </p:cSld>
  <p:clrMapOvr>
    <a:masterClrMapping/>
  </p:clrMapOvr>
  <p:transition>
    <p:wipe dir="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38"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10"/>
          <p:cNvSpPr>
            <a:spLocks noGrp="1"/>
          </p:cNvSpPr>
          <p:nvPr>
            <p:ph type="body" sz="quarter" idx="12" hasCustomPrompt="1"/>
            <p:custDataLst>
              <p:tags r:id="rId3"/>
            </p:custDataLst>
          </p:nvPr>
        </p:nvSpPr>
        <p:spPr>
          <a:xfrm>
            <a:off x="76199" y="123825"/>
            <a:ext cx="392269" cy="404813"/>
          </a:xfrm>
          <a:prstGeom prst="flowChartDelay">
            <a:avLst/>
          </a:prstGeom>
          <a:solidFill>
            <a:schemeClr val="tx2"/>
          </a:solidFill>
          <a:ln>
            <a:solidFill>
              <a:schemeClr val="tx1"/>
            </a:solidFill>
          </a:ln>
          <a:effectLst>
            <a:outerShdw blurRad="50800" dist="38100" dir="2700000" algn="tl" rotWithShape="0">
              <a:prstClr val="black">
                <a:alpha val="40000"/>
              </a:prstClr>
            </a:outerShdw>
          </a:effectLst>
        </p:spPr>
        <p:txBody>
          <a:bodyPr anchor="ctr"/>
          <a:lstStyle>
            <a:lvl1pPr algn="ctr">
              <a:buNone/>
              <a:defRPr sz="1600" b="1">
                <a:solidFill>
                  <a:schemeClr val="bg1"/>
                </a:solidFill>
              </a:defRPr>
            </a:lvl1pPr>
            <a:lvl2pPr>
              <a:buNone/>
              <a:defRPr sz="1600"/>
            </a:lvl2pPr>
            <a:lvl3pPr>
              <a:buNone/>
              <a:defRPr sz="1600"/>
            </a:lvl3pPr>
            <a:lvl4pPr>
              <a:buNone/>
              <a:defRPr sz="1600"/>
            </a:lvl4pPr>
            <a:lvl5pPr>
              <a:buNone/>
              <a:defRPr sz="1600"/>
            </a:lvl5pPr>
          </a:lstStyle>
          <a:p>
            <a:pPr lvl="0"/>
            <a:r>
              <a:rPr lang="en-US" smtClean="0"/>
              <a:t>1</a:t>
            </a:r>
            <a:endParaRPr lang="en-US" dirty="0"/>
          </a:p>
        </p:txBody>
      </p:sp>
      <p:sp>
        <p:nvSpPr>
          <p:cNvPr id="2" name="Title 1"/>
          <p:cNvSpPr>
            <a:spLocks noGrp="1"/>
          </p:cNvSpPr>
          <p:nvPr>
            <p:ph type="title"/>
            <p:custDataLst>
              <p:tags r:id="rId4"/>
            </p:custDataLst>
          </p:nvPr>
        </p:nvSpPr>
        <p:spPr>
          <a:xfrm>
            <a:off x="1690776" y="88900"/>
            <a:ext cx="7135724" cy="812800"/>
          </a:xfrm>
        </p:spPr>
        <p:txBody>
          <a:bodyPr anchor="t"/>
          <a:lstStyle/>
          <a:p>
            <a:r>
              <a:rPr lang="en-US" smtClean="0"/>
              <a:t>Click to edit Master title style</a:t>
            </a:r>
            <a:endParaRPr lang="en-US" dirty="0"/>
          </a:p>
        </p:txBody>
      </p:sp>
      <p:sp>
        <p:nvSpPr>
          <p:cNvPr id="3" name="Content Placeholder 2"/>
          <p:cNvSpPr>
            <a:spLocks noGrp="1"/>
          </p:cNvSpPr>
          <p:nvPr>
            <p:ph idx="1"/>
            <p:custDataLst>
              <p:tags r:id="rId5"/>
            </p:custDataLst>
          </p:nvPr>
        </p:nvSpPr>
        <p:spPr>
          <a:xfrm>
            <a:off x="304800" y="1219200"/>
            <a:ext cx="8610600"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ftr" sz="quarter" idx="10"/>
            <p:custDataLst>
              <p:tags r:id="rId6"/>
            </p:custDataLst>
          </p:nvPr>
        </p:nvSpPr>
        <p:spPr>
          <a:xfrm>
            <a:off x="792163" y="6457183"/>
            <a:ext cx="5753100" cy="376238"/>
          </a:xfrm>
          <a:ln/>
        </p:spPr>
        <p:txBody>
          <a:bodyPr/>
          <a:lstStyle>
            <a:lvl1pPr>
              <a:defRPr/>
            </a:lvl1pPr>
          </a:lstStyle>
          <a:p>
            <a:pPr>
              <a:defRPr/>
            </a:pPr>
            <a:r>
              <a:rPr lang="en-US" dirty="0" smtClean="0">
                <a:solidFill>
                  <a:srgbClr val="626469"/>
                </a:solidFill>
              </a:rPr>
              <a:t>Classification: CONFIDENTIAL</a:t>
            </a:r>
            <a:endParaRPr lang="en-US" dirty="0">
              <a:solidFill>
                <a:srgbClr val="626469"/>
              </a:solidFill>
            </a:endParaRPr>
          </a:p>
        </p:txBody>
      </p:sp>
      <p:sp>
        <p:nvSpPr>
          <p:cNvPr id="9" name="Text Placeholder 8"/>
          <p:cNvSpPr>
            <a:spLocks noGrp="1"/>
          </p:cNvSpPr>
          <p:nvPr>
            <p:ph type="body" sz="quarter" idx="11"/>
            <p:custDataLst>
              <p:tags r:id="rId7"/>
            </p:custDataLst>
          </p:nvPr>
        </p:nvSpPr>
        <p:spPr>
          <a:xfrm>
            <a:off x="433390" y="88900"/>
            <a:ext cx="1166810" cy="609600"/>
          </a:xfrm>
          <a:prstGeom prst="homePlate">
            <a:avLst>
              <a:gd name="adj" fmla="val 14954"/>
            </a:avLst>
          </a:prstGeom>
          <a:solidFill>
            <a:schemeClr val="tx1">
              <a:lumMod val="20000"/>
              <a:lumOff val="80000"/>
            </a:schemeClr>
          </a:solidFill>
          <a:ln>
            <a:solidFill>
              <a:schemeClr val="tx1"/>
            </a:solidFill>
          </a:ln>
          <a:effectLst>
            <a:outerShdw blurRad="50800" dist="38100" dir="2700000" algn="tl" rotWithShape="0">
              <a:prstClr val="black">
                <a:alpha val="40000"/>
              </a:prstClr>
            </a:outerShdw>
          </a:effectLst>
        </p:spPr>
        <p:txBody>
          <a:bodyPr lIns="72000" tIns="36000" bIns="36000" anchor="ctr"/>
          <a:lstStyle>
            <a:lvl1pPr marL="0" indent="0">
              <a:buNone/>
              <a:defRPr sz="1100" b="1"/>
            </a:lvl1pPr>
            <a:lvl2pPr>
              <a:defRPr sz="1100"/>
            </a:lvl2pPr>
            <a:lvl3pPr>
              <a:defRPr sz="1100"/>
            </a:lvl3pPr>
            <a:lvl4pPr>
              <a:defRPr sz="1100"/>
            </a:lvl4pPr>
            <a:lvl5pPr>
              <a:defRPr sz="1100"/>
            </a:lvl5pPr>
          </a:lstStyle>
          <a:p>
            <a:pPr lvl="0"/>
            <a:r>
              <a:rPr lang="en-US" smtClean="0"/>
              <a:t>Click to edit Master text styles</a:t>
            </a:r>
            <a:endParaRPr lang="en-US" dirty="0"/>
          </a:p>
        </p:txBody>
      </p:sp>
    </p:spTree>
    <p:extLst>
      <p:ext uri="{BB962C8B-B14F-4D97-AF65-F5344CB8AC3E}">
        <p14:creationId xmlns:p14="http://schemas.microsoft.com/office/powerpoint/2010/main" val="2405403491"/>
      </p:ext>
    </p:extLst>
  </p:cSld>
  <p:clrMapOvr>
    <a:masterClrMapping/>
  </p:clrMapOvr>
  <p:transition>
    <p:wipe dir="r"/>
  </p:transition>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Title 4"/>
          <p:cNvSpPr>
            <a:spLocks noGrp="1"/>
          </p:cNvSpPr>
          <p:nvPr>
            <p:ph type="title"/>
          </p:nvPr>
        </p:nvSpPr>
        <p:spPr/>
        <p:txBody>
          <a:bodyPr/>
          <a:lstStyle/>
          <a:p>
            <a:r>
              <a:rPr lang="en-US" smtClean="0"/>
              <a:t>Click to edit Master title style</a:t>
            </a:r>
            <a:endParaRPr lang="en-US"/>
          </a:p>
        </p:txBody>
      </p:sp>
      <p:sp>
        <p:nvSpPr>
          <p:cNvPr id="6" name="Footer Placeholder 5"/>
          <p:cNvSpPr>
            <a:spLocks noGrp="1" noChangeArrowheads="1"/>
          </p:cNvSpPr>
          <p:nvPr>
            <p:ph type="ftr" sz="quarter" idx="3"/>
          </p:nvPr>
        </p:nvSpPr>
        <p:spPr>
          <a:xfrm>
            <a:off x="3147659" y="6483350"/>
            <a:ext cx="2848683" cy="376238"/>
          </a:xfrm>
          <a:prstGeom prst="rect">
            <a:avLst/>
          </a:prstGeom>
          <a:ln/>
        </p:spPr>
        <p:txBody>
          <a:bodyPr/>
          <a:lstStyle>
            <a:lvl1pPr algn="r">
              <a:defRPr/>
            </a:lvl1pPr>
          </a:lstStyle>
          <a:p>
            <a:pPr>
              <a:defRPr/>
            </a:pPr>
            <a:r>
              <a:rPr lang="en-US" dirty="0" smtClean="0">
                <a:solidFill>
                  <a:srgbClr val="626469"/>
                </a:solidFill>
              </a:rPr>
              <a:t>CONFIDENTIAL - FOR PUBLIC USE</a:t>
            </a:r>
            <a:endParaRPr lang="en-US" dirty="0">
              <a:solidFill>
                <a:srgbClr val="626469"/>
              </a:solidFill>
            </a:endParaRPr>
          </a:p>
        </p:txBody>
      </p:sp>
    </p:spTree>
    <p:extLst>
      <p:ext uri="{BB962C8B-B14F-4D97-AF65-F5344CB8AC3E}">
        <p14:creationId xmlns:p14="http://schemas.microsoft.com/office/powerpoint/2010/main" val="1989309271"/>
      </p:ext>
    </p:extLst>
  </p:cSld>
  <p:clrMapOvr>
    <a:masterClrMapping/>
  </p:clrMapOvr>
  <p:transition>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smtClean="0">
                <a:solidFill>
                  <a:srgbClr val="5F7800">
                    <a:lumMod val="75000"/>
                  </a:srgbClr>
                </a:solidFill>
              </a:rPr>
              <a:t>Classification: Public</a:t>
            </a:r>
            <a:endParaRPr lang="en-US" dirty="0">
              <a:solidFill>
                <a:srgbClr val="5F7800">
                  <a:lumMod val="75000"/>
                </a:srgbClr>
              </a:solidFill>
            </a:endParaRPr>
          </a:p>
        </p:txBody>
      </p:sp>
    </p:spTree>
    <p:extLst>
      <p:ext uri="{BB962C8B-B14F-4D97-AF65-F5344CB8AC3E}">
        <p14:creationId xmlns:p14="http://schemas.microsoft.com/office/powerpoint/2010/main" val="1284708879"/>
      </p:ext>
    </p:extLst>
  </p:cSld>
  <p:clrMapOvr>
    <a:masterClrMapping/>
  </p:clrMapOvr>
  <p:transition>
    <p:wipe dir="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165638458"/>
      </p:ext>
    </p:extLst>
  </p:cSld>
  <p:clrMapOvr>
    <a:masterClrMapping/>
  </p:clrMapOvr>
  <p:transition>
    <p:wipe dir="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247293365"/>
      </p:ext>
    </p:extLst>
  </p:cSld>
  <p:clrMapOvr>
    <a:masterClrMapping/>
  </p:clrMapOvr>
  <p:transition>
    <p:wipe dir="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849241803"/>
      </p:ext>
    </p:extLst>
  </p:cSld>
  <p:clrMapOvr>
    <a:masterClrMapping/>
  </p:clrMapOvr>
  <p:transition>
    <p:wipe dir="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660140817"/>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dirty="0"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8" name="Rectangle 4"/>
          <p:cNvSpPr>
            <a:spLocks noGrp="1" noChangeArrowheads="1"/>
          </p:cNvSpPr>
          <p:nvPr>
            <p:ph type="ftr" sz="quarter" idx="10"/>
          </p:nvPr>
        </p:nvSpPr>
        <p:spPr>
          <a:xfrm>
            <a:off x="792163" y="6460520"/>
            <a:ext cx="5753100" cy="376238"/>
          </a:xfrm>
          <a:ln/>
        </p:spPr>
        <p:txBody>
          <a:bodyPr anchor="ctr">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291319380"/>
      </p:ext>
    </p:extLst>
  </p:cSld>
  <p:clrMapOvr>
    <a:masterClrMapping/>
  </p:clrMapOvr>
  <p:transition>
    <p:wipe dir="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37435730"/>
      </p:ext>
    </p:extLst>
  </p:cSld>
  <p:clrMapOvr>
    <a:masterClrMapping/>
  </p:clrMapOvr>
  <p:transition>
    <p:wipe dir="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553369595"/>
      </p:ext>
    </p:extLst>
  </p:cSld>
  <p:clrMapOvr>
    <a:masterClrMapping/>
  </p:clrMapOvr>
  <p:transition>
    <p:wipe dir="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985295853"/>
      </p:ext>
    </p:extLst>
  </p:cSld>
  <p:clrMapOvr>
    <a:masterClrMapping/>
  </p:clrMapOvr>
  <p:transition>
    <p:wipe dir="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818135760"/>
      </p:ext>
    </p:extLst>
  </p:cSld>
  <p:clrMapOvr>
    <a:masterClrMapping/>
  </p:clrMapOvr>
  <p:transition>
    <p:wipe dir="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328290743"/>
      </p:ext>
    </p:extLst>
  </p:cSld>
  <p:clrMapOvr>
    <a:masterClrMapping/>
  </p:clrMapOvr>
  <p:transition>
    <p:wipe dir="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73065" y="357210"/>
            <a:ext cx="6631522" cy="2044795"/>
          </a:xfrm>
        </p:spPr>
        <p:txBody>
          <a:bodyPr anchor="t" anchorCtr="0"/>
          <a:lstStyle>
            <a:lvl1pPr algn="l" defTabSz="957081" rtl="0" eaLnBrk="1" fontAlgn="base" hangingPunct="1">
              <a:lnSpc>
                <a:spcPct val="90000"/>
              </a:lnSpc>
              <a:spcBef>
                <a:spcPct val="0"/>
              </a:spcBef>
              <a:spcAft>
                <a:spcPct val="0"/>
              </a:spcAft>
              <a:defRPr lang="en-US" sz="9600" b="1" dirty="0">
                <a:solidFill>
                  <a:schemeClr val="accent2"/>
                </a:solidFill>
                <a:latin typeface="+mn-lt"/>
                <a:ea typeface="+mj-ea"/>
                <a:cs typeface="+mj-cs"/>
              </a:defRPr>
            </a:lvl1pPr>
          </a:lstStyle>
          <a:p>
            <a:r>
              <a:rPr lang="en-US" dirty="0" smtClean="0"/>
              <a:t>Click to edit Master title style</a:t>
            </a:r>
            <a:endParaRPr lang="en-US" dirty="0"/>
          </a:p>
        </p:txBody>
      </p:sp>
      <p:cxnSp>
        <p:nvCxnSpPr>
          <p:cNvPr id="4" name="Straight Connector 3"/>
          <p:cNvCxnSpPr/>
          <p:nvPr userDrawn="1"/>
        </p:nvCxnSpPr>
        <p:spPr bwMode="auto">
          <a:xfrm>
            <a:off x="327025"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1252560744"/>
      </p:ext>
    </p:extLst>
  </p:cSld>
  <p:clrMapOvr>
    <a:masterClrMapping/>
  </p:clrMapOvr>
  <p:transition>
    <p:wipe dir="r"/>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Light green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2"/>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2408260536"/>
      </p:ext>
    </p:extLst>
  </p:cSld>
  <p:clrMapOvr>
    <a:masterClrMapping/>
  </p:clrMapOvr>
  <p:transition>
    <p:wipe dir="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Light Orange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spTree>
    <p:extLst>
      <p:ext uri="{BB962C8B-B14F-4D97-AF65-F5344CB8AC3E}">
        <p14:creationId xmlns:p14="http://schemas.microsoft.com/office/powerpoint/2010/main" val="3053814780"/>
      </p:ext>
    </p:extLst>
  </p:cSld>
  <p:clrMapOvr>
    <a:masterClrMapping/>
  </p:clrMapOvr>
  <p:transition>
    <p:wipe dir="r"/>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smtClean="0"/>
              <a:t>Click to edit Master title style</a:t>
            </a:r>
            <a:endParaRPr lang="de-CH"/>
          </a:p>
        </p:txBody>
      </p:sp>
      <p:sp>
        <p:nvSpPr>
          <p:cNvPr id="3" name="Text Placeholder 2"/>
          <p:cNvSpPr>
            <a:spLocks noGrp="1"/>
          </p:cNvSpPr>
          <p:nvPr>
            <p:ph type="body" sz="half" idx="1"/>
          </p:nvPr>
        </p:nvSpPr>
        <p:spPr>
          <a:xfrm>
            <a:off x="373063" y="1211263"/>
            <a:ext cx="4152900" cy="4730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quarter" idx="2"/>
          </p:nvPr>
        </p:nvSpPr>
        <p:spPr>
          <a:xfrm>
            <a:off x="4678363" y="1211263"/>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Content Placeholder 4"/>
          <p:cNvSpPr>
            <a:spLocks noGrp="1"/>
          </p:cNvSpPr>
          <p:nvPr>
            <p:ph sz="quarter" idx="3"/>
          </p:nvPr>
        </p:nvSpPr>
        <p:spPr>
          <a:xfrm>
            <a:off x="4678363" y="3652838"/>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6" name="Rectangle 4"/>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940398186"/>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de-CH" dirty="0"/>
          </a:p>
        </p:txBody>
      </p:sp>
      <p:sp>
        <p:nvSpPr>
          <p:cNvPr id="4" name="Rectangle 4"/>
          <p:cNvSpPr>
            <a:spLocks noGrp="1" noChangeArrowheads="1"/>
          </p:cNvSpPr>
          <p:nvPr>
            <p:ph type="ftr" sz="quarter" idx="10"/>
          </p:nvPr>
        </p:nvSpPr>
        <p:spPr>
          <a:xfrm>
            <a:off x="792163" y="6460520"/>
            <a:ext cx="5753100" cy="376238"/>
          </a:xfrm>
          <a:ln/>
        </p:spPr>
        <p:txBody>
          <a:bodyPr anchor="ctr">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88900"/>
            <a:ext cx="8455025" cy="8128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71476" y="1211263"/>
            <a:ext cx="4164013"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7888" y="1211263"/>
            <a:ext cx="4164012"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531358740"/>
      </p:ext>
    </p:extLst>
  </p:cSld>
  <p:clrMapOvr>
    <a:masterClrMapping/>
  </p:clrMapOvr>
  <p:transition>
    <p:wipe dir="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smtClean="0">
                <a:solidFill>
                  <a:srgbClr val="5F7800">
                    <a:lumMod val="75000"/>
                  </a:srgbClr>
                </a:solidFill>
              </a:rPr>
              <a:t>Classification: Public</a:t>
            </a:r>
            <a:endParaRPr lang="en-US" dirty="0">
              <a:solidFill>
                <a:srgbClr val="5F7800">
                  <a:lumMod val="75000"/>
                </a:srgbClr>
              </a:solidFill>
            </a:endParaRPr>
          </a:p>
        </p:txBody>
      </p:sp>
    </p:spTree>
    <p:extLst>
      <p:ext uri="{BB962C8B-B14F-4D97-AF65-F5344CB8AC3E}">
        <p14:creationId xmlns:p14="http://schemas.microsoft.com/office/powerpoint/2010/main" val="3094166737"/>
      </p:ext>
    </p:extLst>
  </p:cSld>
  <p:clrMapOvr>
    <a:masterClrMapping/>
  </p:clrMapOvr>
  <p:transition>
    <p:wipe dir="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565915830"/>
      </p:ext>
    </p:extLst>
  </p:cSld>
  <p:clrMapOvr>
    <a:masterClrMapping/>
  </p:clrMapOvr>
  <p:transition>
    <p:wipe dir="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707632604"/>
      </p:ext>
    </p:extLst>
  </p:cSld>
  <p:clrMapOvr>
    <a:masterClrMapping/>
  </p:clrMapOvr>
  <p:transition>
    <p:wipe dir="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421687670"/>
      </p:ext>
    </p:extLst>
  </p:cSld>
  <p:clrMapOvr>
    <a:masterClrMapping/>
  </p:clrMapOvr>
  <p:transition>
    <p:wipe dir="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15463246"/>
      </p:ext>
    </p:extLst>
  </p:cSld>
  <p:clrMapOvr>
    <a:masterClrMapping/>
  </p:clrMapOvr>
  <p:transition>
    <p:wipe dir="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002521873"/>
      </p:ext>
    </p:extLst>
  </p:cSld>
  <p:clrMapOvr>
    <a:masterClrMapping/>
  </p:clrMapOvr>
  <p:transition>
    <p:wipe dir="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269293885"/>
      </p:ext>
    </p:extLst>
  </p:cSld>
  <p:clrMapOvr>
    <a:masterClrMapping/>
  </p:clrMapOvr>
  <p:transition>
    <p:wipe dir="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769687422"/>
      </p:ext>
    </p:extLst>
  </p:cSld>
  <p:clrMapOvr>
    <a:masterClrMapping/>
  </p:clrMapOvr>
  <p:transition>
    <p:wipe dir="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91418615"/>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4"/>
          <p:cNvSpPr>
            <a:spLocks noGrp="1" noChangeArrowheads="1"/>
          </p:cNvSpPr>
          <p:nvPr>
            <p:ph type="ftr" sz="quarter" idx="10"/>
          </p:nvPr>
        </p:nvSpPr>
        <p:spPr>
          <a:xfrm>
            <a:off x="792163" y="6460520"/>
            <a:ext cx="5753100" cy="376238"/>
          </a:xfrm>
          <a:ln/>
        </p:spPr>
        <p:txBody>
          <a:bodyPr anchor="ctr">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600648585"/>
      </p:ext>
    </p:extLst>
  </p:cSld>
  <p:clrMapOvr>
    <a:masterClrMapping/>
  </p:clrMapOvr>
  <p:transition>
    <p:wipe dir="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382761493"/>
      </p:ext>
    </p:extLst>
  </p:cSld>
  <p:clrMapOvr>
    <a:masterClrMapping/>
  </p:clrMapOvr>
  <p:transition>
    <p:wipe dir="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73065" y="357210"/>
            <a:ext cx="6631522" cy="2044795"/>
          </a:xfrm>
        </p:spPr>
        <p:txBody>
          <a:bodyPr anchor="t" anchorCtr="0"/>
          <a:lstStyle>
            <a:lvl1pPr algn="l" defTabSz="957081" rtl="0" eaLnBrk="1" fontAlgn="base" hangingPunct="1">
              <a:lnSpc>
                <a:spcPct val="90000"/>
              </a:lnSpc>
              <a:spcBef>
                <a:spcPct val="0"/>
              </a:spcBef>
              <a:spcAft>
                <a:spcPct val="0"/>
              </a:spcAft>
              <a:defRPr lang="en-US" sz="9600" b="1" dirty="0">
                <a:solidFill>
                  <a:schemeClr val="accent2"/>
                </a:solidFill>
                <a:latin typeface="+mn-lt"/>
                <a:ea typeface="+mj-ea"/>
                <a:cs typeface="+mj-cs"/>
              </a:defRPr>
            </a:lvl1pPr>
          </a:lstStyle>
          <a:p>
            <a:r>
              <a:rPr lang="en-US" dirty="0" smtClean="0"/>
              <a:t>Click to edit Master title style</a:t>
            </a:r>
            <a:endParaRPr lang="en-US" dirty="0"/>
          </a:p>
        </p:txBody>
      </p:sp>
      <p:cxnSp>
        <p:nvCxnSpPr>
          <p:cNvPr id="4" name="Straight Connector 3"/>
          <p:cNvCxnSpPr/>
          <p:nvPr userDrawn="1"/>
        </p:nvCxnSpPr>
        <p:spPr bwMode="auto">
          <a:xfrm>
            <a:off x="327025"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2158791122"/>
      </p:ext>
    </p:extLst>
  </p:cSld>
  <p:clrMapOvr>
    <a:masterClrMapping/>
  </p:clrMapOvr>
  <p:transition>
    <p:wipe dir="r"/>
  </p:transition>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Light green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2"/>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3770853790"/>
      </p:ext>
    </p:extLst>
  </p:cSld>
  <p:clrMapOvr>
    <a:masterClrMapping/>
  </p:clrMapOvr>
  <p:transition>
    <p:wipe dir="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Light Orange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spTree>
    <p:extLst>
      <p:ext uri="{BB962C8B-B14F-4D97-AF65-F5344CB8AC3E}">
        <p14:creationId xmlns:p14="http://schemas.microsoft.com/office/powerpoint/2010/main" val="2541058090"/>
      </p:ext>
    </p:extLst>
  </p:cSld>
  <p:clrMapOvr>
    <a:masterClrMapping/>
  </p:clrMapOvr>
  <p:transition>
    <p:wipe dir="r"/>
  </p:transition>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smtClean="0"/>
              <a:t>Click to edit Master title style</a:t>
            </a:r>
            <a:endParaRPr lang="de-CH"/>
          </a:p>
        </p:txBody>
      </p:sp>
      <p:sp>
        <p:nvSpPr>
          <p:cNvPr id="3" name="Text Placeholder 2"/>
          <p:cNvSpPr>
            <a:spLocks noGrp="1"/>
          </p:cNvSpPr>
          <p:nvPr>
            <p:ph type="body" sz="half" idx="1"/>
          </p:nvPr>
        </p:nvSpPr>
        <p:spPr>
          <a:xfrm>
            <a:off x="373063" y="1211263"/>
            <a:ext cx="4152900" cy="4730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quarter" idx="2"/>
          </p:nvPr>
        </p:nvSpPr>
        <p:spPr>
          <a:xfrm>
            <a:off x="4678363" y="1211263"/>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Content Placeholder 4"/>
          <p:cNvSpPr>
            <a:spLocks noGrp="1"/>
          </p:cNvSpPr>
          <p:nvPr>
            <p:ph sz="quarter" idx="3"/>
          </p:nvPr>
        </p:nvSpPr>
        <p:spPr>
          <a:xfrm>
            <a:off x="4678363" y="3652838"/>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6" name="Rectangle 4"/>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881243787"/>
      </p:ext>
    </p:extLst>
  </p:cSld>
  <p:clrMapOvr>
    <a:masterClrMapping/>
  </p:clrMapOvr>
  <p:transition>
    <p:wipe dir="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88900"/>
            <a:ext cx="8455025" cy="8128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71476" y="1211263"/>
            <a:ext cx="4164013"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7888" y="1211263"/>
            <a:ext cx="4164012"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1079440333"/>
      </p:ext>
    </p:extLst>
  </p:cSld>
  <p:clrMapOvr>
    <a:masterClrMapping/>
  </p:clrMapOvr>
  <p:transition>
    <p:wipe dir="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smtClean="0">
                <a:solidFill>
                  <a:srgbClr val="5F7800">
                    <a:lumMod val="75000"/>
                  </a:srgbClr>
                </a:solidFill>
              </a:rPr>
              <a:t>Classification: Public</a:t>
            </a:r>
            <a:endParaRPr lang="en-US" dirty="0">
              <a:solidFill>
                <a:srgbClr val="5F7800">
                  <a:lumMod val="75000"/>
                </a:srgbClr>
              </a:solidFill>
            </a:endParaRPr>
          </a:p>
        </p:txBody>
      </p:sp>
    </p:spTree>
    <p:extLst>
      <p:ext uri="{BB962C8B-B14F-4D97-AF65-F5344CB8AC3E}">
        <p14:creationId xmlns:p14="http://schemas.microsoft.com/office/powerpoint/2010/main" val="2389906606"/>
      </p:ext>
    </p:extLst>
  </p:cSld>
  <p:clrMapOvr>
    <a:masterClrMapping/>
  </p:clrMapOvr>
  <p:transition>
    <p:wipe dir="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4243705200"/>
      </p:ext>
    </p:extLst>
  </p:cSld>
  <p:clrMapOvr>
    <a:masterClrMapping/>
  </p:clrMapOvr>
  <p:transition>
    <p:wipe dir="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554113316"/>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dirty="0"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6" name="Rectangle 4"/>
          <p:cNvSpPr>
            <a:spLocks noGrp="1" noChangeArrowheads="1"/>
          </p:cNvSpPr>
          <p:nvPr>
            <p:ph type="ftr" sz="quarter" idx="10"/>
          </p:nvPr>
        </p:nvSpPr>
        <p:spPr>
          <a:xfrm>
            <a:off x="792163" y="6460520"/>
            <a:ext cx="5753100" cy="376238"/>
          </a:xfrm>
          <a:ln/>
        </p:spPr>
        <p:txBody>
          <a:bodyPr anchor="ctr">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628067449"/>
      </p:ext>
    </p:extLst>
  </p:cSld>
  <p:clrMapOvr>
    <a:masterClrMapping/>
  </p:clrMapOvr>
  <p:transition>
    <p:wipe dir="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944499394"/>
      </p:ext>
    </p:extLst>
  </p:cSld>
  <p:clrMapOvr>
    <a:masterClrMapping/>
  </p:clrMapOvr>
  <p:transition>
    <p:wipe dir="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229799812"/>
      </p:ext>
    </p:extLst>
  </p:cSld>
  <p:clrMapOvr>
    <a:masterClrMapping/>
  </p:clrMapOvr>
  <p:transition>
    <p:wipe dir="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028368961"/>
      </p:ext>
    </p:extLst>
  </p:cSld>
  <p:clrMapOvr>
    <a:masterClrMapping/>
  </p:clrMapOvr>
  <p:transition>
    <p:wipe dir="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672936449"/>
      </p:ext>
    </p:extLst>
  </p:cSld>
  <p:clrMapOvr>
    <a:masterClrMapping/>
  </p:clrMapOvr>
  <p:transition>
    <p:wipe dir="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339910751"/>
      </p:ext>
    </p:extLst>
  </p:cSld>
  <p:clrMapOvr>
    <a:masterClrMapping/>
  </p:clrMapOvr>
  <p:transition>
    <p:wipe dir="r"/>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876913734"/>
      </p:ext>
    </p:extLst>
  </p:cSld>
  <p:clrMapOvr>
    <a:masterClrMapping/>
  </p:clrMapOvr>
  <p:transition>
    <p:wipe dir="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4138195138"/>
      </p:ext>
    </p:extLst>
  </p:cSld>
  <p:clrMapOvr>
    <a:masterClrMapping/>
  </p:clrMapOvr>
  <p:transition>
    <p:wipe dir="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73065" y="357210"/>
            <a:ext cx="6631522" cy="2044795"/>
          </a:xfrm>
        </p:spPr>
        <p:txBody>
          <a:bodyPr anchor="t" anchorCtr="0"/>
          <a:lstStyle>
            <a:lvl1pPr algn="l" defTabSz="957081" rtl="0" eaLnBrk="1" fontAlgn="base" hangingPunct="1">
              <a:lnSpc>
                <a:spcPct val="90000"/>
              </a:lnSpc>
              <a:spcBef>
                <a:spcPct val="0"/>
              </a:spcBef>
              <a:spcAft>
                <a:spcPct val="0"/>
              </a:spcAft>
              <a:defRPr lang="en-US" sz="9600" b="1" dirty="0">
                <a:solidFill>
                  <a:schemeClr val="accent2"/>
                </a:solidFill>
                <a:latin typeface="+mn-lt"/>
                <a:ea typeface="+mj-ea"/>
                <a:cs typeface="+mj-cs"/>
              </a:defRPr>
            </a:lvl1pPr>
          </a:lstStyle>
          <a:p>
            <a:r>
              <a:rPr lang="en-US" dirty="0" smtClean="0"/>
              <a:t>Click to edit Master title style</a:t>
            </a:r>
            <a:endParaRPr lang="en-US" dirty="0"/>
          </a:p>
        </p:txBody>
      </p:sp>
      <p:cxnSp>
        <p:nvCxnSpPr>
          <p:cNvPr id="4" name="Straight Connector 3"/>
          <p:cNvCxnSpPr/>
          <p:nvPr userDrawn="1"/>
        </p:nvCxnSpPr>
        <p:spPr bwMode="auto">
          <a:xfrm>
            <a:off x="327025"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275816849"/>
      </p:ext>
    </p:extLst>
  </p:cSld>
  <p:clrMapOvr>
    <a:masterClrMapping/>
  </p:clrMapOvr>
  <p:transition>
    <p:wipe dir="r"/>
  </p:transition>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Light green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2"/>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664364839"/>
      </p:ext>
    </p:extLst>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dirty="0"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6" name="Rectangle 4"/>
          <p:cNvSpPr>
            <a:spLocks noGrp="1" noChangeArrowheads="1"/>
          </p:cNvSpPr>
          <p:nvPr>
            <p:ph type="ftr" sz="quarter" idx="10"/>
          </p:nvPr>
        </p:nvSpPr>
        <p:spPr>
          <a:xfrm>
            <a:off x="792163" y="6460520"/>
            <a:ext cx="5753100" cy="376238"/>
          </a:xfrm>
          <a:ln/>
        </p:spPr>
        <p:txBody>
          <a:bodyPr anchor="ctr">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Light Orange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spTree>
    <p:extLst>
      <p:ext uri="{BB962C8B-B14F-4D97-AF65-F5344CB8AC3E}">
        <p14:creationId xmlns:p14="http://schemas.microsoft.com/office/powerpoint/2010/main" val="2104834720"/>
      </p:ext>
    </p:extLst>
  </p:cSld>
  <p:clrMapOvr>
    <a:masterClrMapping/>
  </p:clrMapOvr>
  <p:transition>
    <p:wipe dir="r"/>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smtClean="0"/>
              <a:t>Click to edit Master title style</a:t>
            </a:r>
            <a:endParaRPr lang="de-CH"/>
          </a:p>
        </p:txBody>
      </p:sp>
      <p:sp>
        <p:nvSpPr>
          <p:cNvPr id="3" name="Text Placeholder 2"/>
          <p:cNvSpPr>
            <a:spLocks noGrp="1"/>
          </p:cNvSpPr>
          <p:nvPr>
            <p:ph type="body" sz="half" idx="1"/>
          </p:nvPr>
        </p:nvSpPr>
        <p:spPr>
          <a:xfrm>
            <a:off x="373063" y="1211263"/>
            <a:ext cx="4152900" cy="4730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quarter" idx="2"/>
          </p:nvPr>
        </p:nvSpPr>
        <p:spPr>
          <a:xfrm>
            <a:off x="4678363" y="1211263"/>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Content Placeholder 4"/>
          <p:cNvSpPr>
            <a:spLocks noGrp="1"/>
          </p:cNvSpPr>
          <p:nvPr>
            <p:ph sz="quarter" idx="3"/>
          </p:nvPr>
        </p:nvSpPr>
        <p:spPr>
          <a:xfrm>
            <a:off x="4678363" y="3652838"/>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6" name="Rectangle 4"/>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862351449"/>
      </p:ext>
    </p:extLst>
  </p:cSld>
  <p:clrMapOvr>
    <a:masterClrMapping/>
  </p:clrMapOvr>
  <p:transition>
    <p:wipe dir="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88900"/>
            <a:ext cx="8455025" cy="8128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71476" y="1211263"/>
            <a:ext cx="4164013"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7888" y="1211263"/>
            <a:ext cx="4164012"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3522428826"/>
      </p:ext>
    </p:extLst>
  </p:cSld>
  <p:clrMapOvr>
    <a:masterClrMapping/>
  </p:clrMapOvr>
  <p:transition>
    <p:wipe dir="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smtClean="0">
                <a:solidFill>
                  <a:srgbClr val="5F7800">
                    <a:lumMod val="75000"/>
                  </a:srgbClr>
                </a:solidFill>
              </a:rPr>
              <a:t>Classification: Public</a:t>
            </a:r>
            <a:endParaRPr lang="en-US" dirty="0">
              <a:solidFill>
                <a:srgbClr val="5F7800">
                  <a:lumMod val="75000"/>
                </a:srgbClr>
              </a:solidFill>
            </a:endParaRPr>
          </a:p>
        </p:txBody>
      </p:sp>
    </p:spTree>
    <p:extLst>
      <p:ext uri="{BB962C8B-B14F-4D97-AF65-F5344CB8AC3E}">
        <p14:creationId xmlns:p14="http://schemas.microsoft.com/office/powerpoint/2010/main" val="976099285"/>
      </p:ext>
    </p:extLst>
  </p:cSld>
  <p:clrMapOvr>
    <a:masterClrMapping/>
  </p:clrMapOvr>
  <p:transition>
    <p:wipe dir="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336345353"/>
      </p:ext>
    </p:extLst>
  </p:cSld>
  <p:clrMapOvr>
    <a:masterClrMapping/>
  </p:clrMapOvr>
  <p:transition>
    <p:wipe dir="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343575606"/>
      </p:ext>
    </p:extLst>
  </p:cSld>
  <p:clrMapOvr>
    <a:masterClrMapping/>
  </p:clrMapOvr>
  <p:transition>
    <p:wipe dir="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972934706"/>
      </p:ext>
    </p:extLst>
  </p:cSld>
  <p:clrMapOvr>
    <a:masterClrMapping/>
  </p:clrMapOvr>
  <p:transition>
    <p:wipe dir="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412239677"/>
      </p:ext>
    </p:extLst>
  </p:cSld>
  <p:clrMapOvr>
    <a:masterClrMapping/>
  </p:clrMapOvr>
  <p:transition>
    <p:wipe dir="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246666724"/>
      </p:ext>
    </p:extLst>
  </p:cSld>
  <p:clrMapOvr>
    <a:masterClrMapping/>
  </p:clrMapOvr>
  <p:transition>
    <p:wipe dir="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194855931"/>
      </p:ext>
    </p:extLst>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de-CH" dirty="0"/>
          </a:p>
        </p:txBody>
      </p:sp>
      <p:sp>
        <p:nvSpPr>
          <p:cNvPr id="3" name="Vertical Text Placeholder 2"/>
          <p:cNvSpPr>
            <a:spLocks noGrp="1"/>
          </p:cNvSpPr>
          <p:nvPr>
            <p:ph type="body" orient="vert" idx="1"/>
          </p:nvPr>
        </p:nvSpPr>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Rectangle 4"/>
          <p:cNvSpPr>
            <a:spLocks noGrp="1" noChangeArrowheads="1"/>
          </p:cNvSpPr>
          <p:nvPr>
            <p:ph type="ftr" sz="quarter" idx="10"/>
          </p:nvPr>
        </p:nvSpPr>
        <p:spPr>
          <a:xfrm>
            <a:off x="792163" y="6460520"/>
            <a:ext cx="5753100" cy="376238"/>
          </a:xfrm>
          <a:ln/>
        </p:spPr>
        <p:txBody>
          <a:bodyPr anchor="ctr">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098643514"/>
      </p:ext>
    </p:extLst>
  </p:cSld>
  <p:clrMapOvr>
    <a:masterClrMapping/>
  </p:clrMapOvr>
  <p:transition>
    <p:wipe dir="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365332367"/>
      </p:ext>
    </p:extLst>
  </p:cSld>
  <p:clrMapOvr>
    <a:masterClrMapping/>
  </p:clrMapOvr>
  <p:transition>
    <p:wipe dir="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584763604"/>
      </p:ext>
    </p:extLst>
  </p:cSld>
  <p:clrMapOvr>
    <a:masterClrMapping/>
  </p:clrMapOvr>
  <p:transition>
    <p:wipe dir="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4259228076"/>
      </p:ext>
    </p:extLst>
  </p:cSld>
  <p:clrMapOvr>
    <a:masterClrMapping/>
  </p:clrMapOvr>
  <p:transition>
    <p:wipe dir="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73065" y="357210"/>
            <a:ext cx="6631522" cy="2044795"/>
          </a:xfrm>
        </p:spPr>
        <p:txBody>
          <a:bodyPr anchor="t" anchorCtr="0"/>
          <a:lstStyle>
            <a:lvl1pPr algn="l" defTabSz="957081" rtl="0" eaLnBrk="1" fontAlgn="base" hangingPunct="1">
              <a:lnSpc>
                <a:spcPct val="90000"/>
              </a:lnSpc>
              <a:spcBef>
                <a:spcPct val="0"/>
              </a:spcBef>
              <a:spcAft>
                <a:spcPct val="0"/>
              </a:spcAft>
              <a:defRPr lang="en-US" sz="9600" b="1" dirty="0">
                <a:solidFill>
                  <a:schemeClr val="accent2"/>
                </a:solidFill>
                <a:latin typeface="+mn-lt"/>
                <a:ea typeface="+mj-ea"/>
                <a:cs typeface="+mj-cs"/>
              </a:defRPr>
            </a:lvl1pPr>
          </a:lstStyle>
          <a:p>
            <a:r>
              <a:rPr lang="en-US" dirty="0" smtClean="0"/>
              <a:t>Click to edit Master title style</a:t>
            </a:r>
            <a:endParaRPr lang="en-US" dirty="0"/>
          </a:p>
        </p:txBody>
      </p:sp>
      <p:cxnSp>
        <p:nvCxnSpPr>
          <p:cNvPr id="4" name="Straight Connector 3"/>
          <p:cNvCxnSpPr/>
          <p:nvPr userDrawn="1"/>
        </p:nvCxnSpPr>
        <p:spPr bwMode="auto">
          <a:xfrm>
            <a:off x="327025"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822117712"/>
      </p:ext>
    </p:extLst>
  </p:cSld>
  <p:clrMapOvr>
    <a:masterClrMapping/>
  </p:clrMapOvr>
  <p:transition>
    <p:wipe dir="r"/>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Light green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2"/>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10128677"/>
      </p:ext>
    </p:extLst>
  </p:cSld>
  <p:clrMapOvr>
    <a:masterClrMapping/>
  </p:clrMapOvr>
  <p:transition>
    <p:wipe dir="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Light Orange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spTree>
    <p:extLst>
      <p:ext uri="{BB962C8B-B14F-4D97-AF65-F5344CB8AC3E}">
        <p14:creationId xmlns:p14="http://schemas.microsoft.com/office/powerpoint/2010/main" val="1158974161"/>
      </p:ext>
    </p:extLst>
  </p:cSld>
  <p:clrMapOvr>
    <a:masterClrMapping/>
  </p:clrMapOvr>
  <p:transition>
    <p:wipe dir="r"/>
  </p:transition>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3063" y="1339849"/>
            <a:ext cx="8459787" cy="4602163"/>
          </a:xfrm>
        </p:spPr>
        <p:txBody>
          <a:bodyPr/>
          <a:lstStyle>
            <a:lvl1pPr>
              <a:spcBef>
                <a:spcPts val="1200"/>
              </a:spcBef>
              <a:spcAft>
                <a:spcPts val="0"/>
              </a:spcAft>
              <a:buClr>
                <a:schemeClr val="bg2"/>
              </a:buClr>
              <a:defRPr sz="3200"/>
            </a:lvl1pPr>
            <a:lvl2pPr>
              <a:spcBef>
                <a:spcPts val="600"/>
              </a:spcBef>
              <a:spcAft>
                <a:spcPts val="0"/>
              </a:spcAft>
              <a:buClr>
                <a:schemeClr val="bg2"/>
              </a:buClr>
              <a:defRPr sz="2800"/>
            </a:lvl2pPr>
            <a:lvl3pPr>
              <a:spcBef>
                <a:spcPts val="600"/>
              </a:spcBef>
              <a:spcAft>
                <a:spcPts val="0"/>
              </a:spcAft>
              <a:buClr>
                <a:schemeClr val="bg2"/>
              </a:buClr>
              <a:defRPr sz="2400"/>
            </a:lvl3pPr>
            <a:lvl4pPr>
              <a:spcBef>
                <a:spcPts val="600"/>
              </a:spcBef>
              <a:spcAft>
                <a:spcPts val="0"/>
              </a:spcAft>
              <a:buClr>
                <a:schemeClr val="bg2"/>
              </a:buClr>
              <a:defRPr sz="2000"/>
            </a:lvl4pPr>
            <a:lvl5pPr>
              <a:spcBef>
                <a:spcPts val="600"/>
              </a:spcBef>
              <a:spcAft>
                <a:spcPts val="0"/>
              </a:spcAft>
              <a:buClr>
                <a:schemeClr val="bg2"/>
              </a:buCl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Title 1"/>
          <p:cNvSpPr>
            <a:spLocks noGrp="1"/>
          </p:cNvSpPr>
          <p:nvPr>
            <p:ph type="title"/>
          </p:nvPr>
        </p:nvSpPr>
        <p:spPr>
          <a:xfrm>
            <a:off x="323300" y="287114"/>
            <a:ext cx="8655600" cy="512448"/>
          </a:xfrm>
        </p:spPr>
        <p:txBody>
          <a:bodyPr wrap="square"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5"/>
            </a:solidFill>
            <a:prstDash val="solid"/>
            <a:round/>
            <a:headEnd type="none" w="sm" len="sm"/>
            <a:tailEnd type="none" w="sm" len="sm"/>
          </a:ln>
          <a:effectLst/>
        </p:spPr>
      </p:cxnSp>
    </p:spTree>
    <p:extLst>
      <p:ext uri="{BB962C8B-B14F-4D97-AF65-F5344CB8AC3E}">
        <p14:creationId xmlns:p14="http://schemas.microsoft.com/office/powerpoint/2010/main" val="3717877726"/>
      </p:ext>
    </p:extLst>
  </p:cSld>
  <p:clrMapOvr>
    <a:masterClrMapping/>
  </p:clrMapOvr>
  <p:transition>
    <p:wipe dir="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smtClean="0"/>
              <a:t>Click to edit Master title style</a:t>
            </a:r>
            <a:endParaRPr lang="de-CH"/>
          </a:p>
        </p:txBody>
      </p:sp>
      <p:sp>
        <p:nvSpPr>
          <p:cNvPr id="3" name="Text Placeholder 2"/>
          <p:cNvSpPr>
            <a:spLocks noGrp="1"/>
          </p:cNvSpPr>
          <p:nvPr>
            <p:ph type="body" sz="half" idx="1"/>
          </p:nvPr>
        </p:nvSpPr>
        <p:spPr>
          <a:xfrm>
            <a:off x="373063" y="1211263"/>
            <a:ext cx="4152900" cy="4730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quarter" idx="2"/>
          </p:nvPr>
        </p:nvSpPr>
        <p:spPr>
          <a:xfrm>
            <a:off x="4678363" y="1211263"/>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Content Placeholder 4"/>
          <p:cNvSpPr>
            <a:spLocks noGrp="1"/>
          </p:cNvSpPr>
          <p:nvPr>
            <p:ph sz="quarter" idx="3"/>
          </p:nvPr>
        </p:nvSpPr>
        <p:spPr>
          <a:xfrm>
            <a:off x="4678363" y="3652838"/>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6" name="Rectangle 4"/>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331470289"/>
      </p:ext>
    </p:extLst>
  </p:cSld>
  <p:clrMapOvr>
    <a:masterClrMapping/>
  </p:clrMapOvr>
  <p:transition>
    <p:wipe dir="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dirty="0" smtClean="0">
                <a:solidFill>
                  <a:srgbClr val="5F7800">
                    <a:lumMod val="75000"/>
                  </a:srgbClr>
                </a:solidFill>
              </a:rPr>
              <a:t>Classification: SECRET</a:t>
            </a:r>
            <a:endParaRPr lang="en-US" dirty="0">
              <a:solidFill>
                <a:srgbClr val="5F7800">
                  <a:lumMod val="75000"/>
                </a:srgbClr>
              </a:solidFill>
            </a:endParaRPr>
          </a:p>
        </p:txBody>
      </p:sp>
    </p:spTree>
    <p:extLst>
      <p:ext uri="{BB962C8B-B14F-4D97-AF65-F5344CB8AC3E}">
        <p14:creationId xmlns:p14="http://schemas.microsoft.com/office/powerpoint/2010/main" val="561154265"/>
      </p:ext>
    </p:extLst>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Rectangle 4"/>
          <p:cNvSpPr>
            <a:spLocks noGrp="1" noChangeArrowheads="1"/>
          </p:cNvSpPr>
          <p:nvPr>
            <p:ph type="ftr" sz="quarter" idx="10"/>
          </p:nvPr>
        </p:nvSpPr>
        <p:spPr>
          <a:xfrm>
            <a:off x="792163" y="6460520"/>
            <a:ext cx="5753100" cy="376238"/>
          </a:xfrm>
          <a:ln/>
        </p:spPr>
        <p:txBody>
          <a:bodyPr anchor="ctr">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2722920174"/>
      </p:ext>
    </p:extLst>
  </p:cSld>
  <p:clrMapOvr>
    <a:masterClrMapping/>
  </p:clrMapOvr>
  <p:transition>
    <p:wipe dir="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996893710"/>
      </p:ext>
    </p:extLst>
  </p:cSld>
  <p:clrMapOvr>
    <a:masterClrMapping/>
  </p:clrMapOvr>
  <p:transition>
    <p:wipe dir="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350977098"/>
      </p:ext>
    </p:extLst>
  </p:cSld>
  <p:clrMapOvr>
    <a:masterClrMapping/>
  </p:clrMapOvr>
  <p:transition>
    <p:wipe dir="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600"/>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918478435"/>
      </p:ext>
    </p:extLst>
  </p:cSld>
  <p:clrMapOvr>
    <a:masterClrMapping/>
  </p:clrMapOvr>
  <p:transition>
    <p:wipe dir="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412523369"/>
      </p:ext>
    </p:extLst>
  </p:cSld>
  <p:clrMapOvr>
    <a:masterClrMapping/>
  </p:clrMapOvr>
  <p:transition>
    <p:wipe dir="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4268923785"/>
      </p:ext>
    </p:extLst>
  </p:cSld>
  <p:clrMapOvr>
    <a:masterClrMapping/>
  </p:clrMapOvr>
  <p:transition>
    <p:wipe dir="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1065460032"/>
      </p:ext>
    </p:extLst>
  </p:cSld>
  <p:clrMapOvr>
    <a:masterClrMapping/>
  </p:clrMapOvr>
  <p:transition>
    <p:wipe dir="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2879380774"/>
      </p:ext>
    </p:extLst>
  </p:cSld>
  <p:clrMapOvr>
    <a:masterClrMapping/>
  </p:clrMapOvr>
  <p:transition>
    <p:wipe dir="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2568164897"/>
      </p:ext>
    </p:extLst>
  </p:cSld>
  <p:clrMapOvr>
    <a:masterClrMapping/>
  </p:clrMapOvr>
  <p:transition>
    <p:wipe dir="r"/>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2250639998"/>
      </p:ext>
    </p:extLst>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smtClean="0"/>
              <a:t>Click to edit Master title style</a:t>
            </a:r>
            <a:endParaRPr lang="de-CH"/>
          </a:p>
        </p:txBody>
      </p:sp>
      <p:sp>
        <p:nvSpPr>
          <p:cNvPr id="3" name="Text Placeholder 2"/>
          <p:cNvSpPr>
            <a:spLocks noGrp="1"/>
          </p:cNvSpPr>
          <p:nvPr>
            <p:ph type="body" sz="half" idx="1"/>
          </p:nvPr>
        </p:nvSpPr>
        <p:spPr>
          <a:xfrm>
            <a:off x="373063" y="1211263"/>
            <a:ext cx="4152900" cy="4730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quarter" idx="2"/>
          </p:nvPr>
        </p:nvSpPr>
        <p:spPr>
          <a:xfrm>
            <a:off x="4678363" y="1211263"/>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Content Placeholder 4"/>
          <p:cNvSpPr>
            <a:spLocks noGrp="1"/>
          </p:cNvSpPr>
          <p:nvPr>
            <p:ph sz="quarter" idx="3"/>
          </p:nvPr>
        </p:nvSpPr>
        <p:spPr>
          <a:xfrm>
            <a:off x="4678363" y="3652838"/>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7" name="Rectangle 4"/>
          <p:cNvSpPr>
            <a:spLocks noGrp="1" noChangeArrowheads="1"/>
          </p:cNvSpPr>
          <p:nvPr>
            <p:ph type="ftr" sz="quarter" idx="10"/>
          </p:nvPr>
        </p:nvSpPr>
        <p:spPr>
          <a:xfrm>
            <a:off x="792163" y="6460520"/>
            <a:ext cx="5753100" cy="376238"/>
          </a:xfrm>
          <a:ln/>
        </p:spPr>
        <p:txBody>
          <a:bodyPr anchor="ctr">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Title 4"/>
          <p:cNvSpPr>
            <a:spLocks noGrp="1"/>
          </p:cNvSpPr>
          <p:nvPr>
            <p:ph type="title"/>
          </p:nvPr>
        </p:nvSpPr>
        <p:spPr/>
        <p:txBody>
          <a:bodyPr/>
          <a:lstStyle/>
          <a:p>
            <a:r>
              <a:rPr lang="en-US" smtClean="0"/>
              <a:t>Click to edit Master title style</a:t>
            </a:r>
            <a:endParaRPr lang="en-US"/>
          </a:p>
        </p:txBody>
      </p:sp>
      <p:sp>
        <p:nvSpPr>
          <p:cNvPr id="6" name="Footer Placeholder 5"/>
          <p:cNvSpPr>
            <a:spLocks noGrp="1" noChangeArrowheads="1"/>
          </p:cNvSpPr>
          <p:nvPr>
            <p:ph type="ftr" sz="quarter" idx="3"/>
          </p:nvPr>
        </p:nvSpPr>
        <p:spPr>
          <a:xfrm>
            <a:off x="3147659" y="6483350"/>
            <a:ext cx="2848683" cy="376238"/>
          </a:xfrm>
          <a:prstGeom prst="rect">
            <a:avLst/>
          </a:prstGeom>
          <a:ln/>
        </p:spPr>
        <p:txBody>
          <a:bodyPr/>
          <a:lstStyle>
            <a:lvl1pPr algn="r">
              <a:defRPr/>
            </a:lvl1pPr>
          </a:lstStyle>
          <a:p>
            <a:pPr>
              <a:defRPr/>
            </a:pPr>
            <a:r>
              <a:rPr lang="en-US" dirty="0" smtClean="0">
                <a:solidFill>
                  <a:srgbClr val="626469"/>
                </a:solidFill>
              </a:rPr>
              <a:t>CONFIDENTIAL - FOR PUBLIC USE</a:t>
            </a:r>
            <a:endParaRPr lang="en-US" dirty="0">
              <a:solidFill>
                <a:srgbClr val="626469"/>
              </a:solidFill>
            </a:endParaRPr>
          </a:p>
        </p:txBody>
      </p:sp>
    </p:spTree>
    <p:extLst>
      <p:ext uri="{BB962C8B-B14F-4D97-AF65-F5344CB8AC3E}">
        <p14:creationId xmlns:p14="http://schemas.microsoft.com/office/powerpoint/2010/main" val="2349901033"/>
      </p:ext>
    </p:extLst>
  </p:cSld>
  <p:clrMapOvr>
    <a:masterClrMapping/>
  </p:clrMapOvr>
  <p:transition>
    <p:wipe dir="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smtClean="0">
                <a:solidFill>
                  <a:srgbClr val="5F7800">
                    <a:lumMod val="75000"/>
                  </a:srgbClr>
                </a:solidFill>
              </a:rPr>
              <a:t>Classification: Public</a:t>
            </a:r>
            <a:endParaRPr lang="en-US" dirty="0">
              <a:solidFill>
                <a:srgbClr val="5F7800">
                  <a:lumMod val="75000"/>
                </a:srgbClr>
              </a:solidFill>
            </a:endParaRPr>
          </a:p>
        </p:txBody>
      </p:sp>
    </p:spTree>
    <p:extLst>
      <p:ext uri="{BB962C8B-B14F-4D97-AF65-F5344CB8AC3E}">
        <p14:creationId xmlns:p14="http://schemas.microsoft.com/office/powerpoint/2010/main" val="1594918581"/>
      </p:ext>
    </p:extLst>
  </p:cSld>
  <p:clrMapOvr>
    <a:masterClrMapping/>
  </p:clrMapOvr>
  <p:transition>
    <p:wipe dir="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597130216"/>
      </p:ext>
    </p:extLst>
  </p:cSld>
  <p:clrMapOvr>
    <a:masterClrMapping/>
  </p:clrMapOvr>
  <p:transition>
    <p:wipe dir="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972317345"/>
      </p:ext>
    </p:extLst>
  </p:cSld>
  <p:clrMapOvr>
    <a:masterClrMapping/>
  </p:clrMapOvr>
  <p:transition>
    <p:wipe dir="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872094208"/>
      </p:ext>
    </p:extLst>
  </p:cSld>
  <p:clrMapOvr>
    <a:masterClrMapping/>
  </p:clrMapOvr>
  <p:transition>
    <p:wipe dir="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636511506"/>
      </p:ext>
    </p:extLst>
  </p:cSld>
  <p:clrMapOvr>
    <a:masterClrMapping/>
  </p:clrMapOvr>
  <p:transition>
    <p:wipe dir="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319935032"/>
      </p:ext>
    </p:extLst>
  </p:cSld>
  <p:clrMapOvr>
    <a:masterClrMapping/>
  </p:clrMapOvr>
  <p:transition>
    <p:wipe dir="r"/>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079082276"/>
      </p:ext>
    </p:extLst>
  </p:cSld>
  <p:clrMapOvr>
    <a:masterClrMapping/>
  </p:clrMapOvr>
  <p:transition>
    <p:wipe dir="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605637658"/>
      </p:ext>
    </p:extLst>
  </p:cSld>
  <p:clrMapOvr>
    <a:masterClrMapping/>
  </p:clrMapOvr>
  <p:transition>
    <p:wipe dir="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402424122"/>
      </p:ext>
    </p:extLst>
  </p:cSld>
  <p:clrMapOvr>
    <a:masterClrMapping/>
  </p:clrMapOvr>
  <p:transition>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7" descr="ppt_land_print_2"/>
          <p:cNvPicPr>
            <a:picLocks noChangeAspect="1" noChangeArrowheads="1"/>
          </p:cNvPicPr>
          <p:nvPr/>
        </p:nvPicPr>
        <p:blipFill>
          <a:blip r:embed="rId2" cstate="print"/>
          <a:srcRect/>
          <a:stretch>
            <a:fillRect/>
          </a:stretch>
        </p:blipFill>
        <p:spPr bwMode="auto">
          <a:xfrm>
            <a:off x="0" y="6173788"/>
            <a:ext cx="9144000" cy="688975"/>
          </a:xfrm>
          <a:prstGeom prst="rect">
            <a:avLst/>
          </a:prstGeom>
          <a:noFill/>
          <a:ln w="9525">
            <a:noFill/>
            <a:miter lim="800000"/>
            <a:headEnd/>
            <a:tailEnd/>
          </a:ln>
        </p:spPr>
      </p:pic>
      <p:sp>
        <p:nvSpPr>
          <p:cNvPr id="5" name="Rectangle 6"/>
          <p:cNvSpPr>
            <a:spLocks noChangeArrowheads="1"/>
          </p:cNvSpPr>
          <p:nvPr/>
        </p:nvSpPr>
        <p:spPr bwMode="auto">
          <a:xfrm>
            <a:off x="293688" y="6483350"/>
            <a:ext cx="557212" cy="374650"/>
          </a:xfrm>
          <a:prstGeom prst="rect">
            <a:avLst/>
          </a:prstGeom>
          <a:noFill/>
          <a:ln w="9525">
            <a:noFill/>
            <a:miter lim="800000"/>
            <a:headEnd/>
            <a:tailEnd/>
          </a:ln>
        </p:spPr>
        <p:txBody>
          <a:bodyPr lIns="91402" tIns="45701" rIns="91402" bIns="45701"/>
          <a:lstStyle/>
          <a:p>
            <a:pPr defTabSz="912813" eaLnBrk="0" hangingPunct="0">
              <a:spcAft>
                <a:spcPts val="600"/>
              </a:spcAft>
              <a:tabLst>
                <a:tab pos="441325" algn="l"/>
              </a:tabLst>
              <a:defRPr/>
            </a:pPr>
            <a:fld id="{DAC4BBA3-999B-4194-98DA-194A2C4489EE}" type="slidenum">
              <a:rPr lang="en-US" sz="1200">
                <a:solidFill>
                  <a:srgbClr val="626469"/>
                </a:solidFill>
                <a:cs typeface="Arial" charset="0"/>
              </a:rPr>
              <a:pPr defTabSz="912813" eaLnBrk="0" hangingPunct="0">
                <a:spcAft>
                  <a:spcPts val="600"/>
                </a:spcAft>
                <a:tabLst>
                  <a:tab pos="441325" algn="l"/>
                </a:tabLst>
                <a:defRPr/>
              </a:pPr>
              <a:t>‹#›</a:t>
            </a:fld>
            <a:r>
              <a:rPr lang="en-US" sz="1200" dirty="0">
                <a:solidFill>
                  <a:srgbClr val="626469"/>
                </a:solidFill>
                <a:cs typeface="Arial" charset="0"/>
              </a:rPr>
              <a:t>	</a:t>
            </a:r>
          </a:p>
        </p:txBody>
      </p:sp>
      <p:pic>
        <p:nvPicPr>
          <p:cNvPr id="6" name="Picture 8" descr="new logo"/>
          <p:cNvPicPr>
            <a:picLocks noChangeAspect="1" noChangeArrowheads="1"/>
          </p:cNvPicPr>
          <p:nvPr/>
        </p:nvPicPr>
        <p:blipFill>
          <a:blip r:embed="rId3" cstate="print"/>
          <a:srcRect/>
          <a:stretch>
            <a:fillRect/>
          </a:stretch>
        </p:blipFill>
        <p:spPr bwMode="auto">
          <a:xfrm>
            <a:off x="7489825" y="6403975"/>
            <a:ext cx="1174750" cy="350838"/>
          </a:xfrm>
          <a:prstGeom prst="rect">
            <a:avLst/>
          </a:prstGeom>
          <a:noFill/>
          <a:ln w="9525">
            <a:noFill/>
            <a:miter lim="800000"/>
            <a:headEnd/>
            <a:tailEnd/>
          </a:ln>
        </p:spPr>
      </p:pic>
      <p:sp>
        <p:nvSpPr>
          <p:cNvPr id="7" name="TextBox 7"/>
          <p:cNvSpPr txBox="1">
            <a:spLocks noChangeArrowheads="1"/>
          </p:cNvSpPr>
          <p:nvPr/>
        </p:nvSpPr>
        <p:spPr bwMode="auto">
          <a:xfrm>
            <a:off x="928688" y="6429375"/>
            <a:ext cx="5429250" cy="428625"/>
          </a:xfrm>
          <a:prstGeom prst="rect">
            <a:avLst/>
          </a:prstGeom>
          <a:noFill/>
          <a:ln w="9525">
            <a:noFill/>
            <a:miter lim="800000"/>
            <a:headEnd/>
            <a:tailEnd/>
          </a:ln>
        </p:spPr>
        <p:txBody>
          <a:bodyPr lIns="91402" tIns="45701" rIns="91402" bIns="45701" anchor="ctr"/>
          <a:lstStyle/>
          <a:p>
            <a:pPr defTabSz="912813">
              <a:spcAft>
                <a:spcPts val="600"/>
              </a:spcAft>
              <a:defRPr/>
            </a:pPr>
            <a:r>
              <a:rPr lang="en-US" dirty="0">
                <a:solidFill>
                  <a:srgbClr val="626469"/>
                </a:solidFill>
                <a:cs typeface="Arial" charset="0"/>
              </a:rPr>
              <a:t>Classification: SECRET</a:t>
            </a:r>
          </a:p>
        </p:txBody>
      </p:sp>
      <p:sp>
        <p:nvSpPr>
          <p:cNvPr id="3929091" name="Rectangle 3"/>
          <p:cNvSpPr>
            <a:spLocks noGrp="1" noChangeArrowheads="1"/>
          </p:cNvSpPr>
          <p:nvPr>
            <p:ph type="ctrTitle"/>
          </p:nvPr>
        </p:nvSpPr>
        <p:spPr>
          <a:xfrm>
            <a:off x="685800" y="2130425"/>
            <a:ext cx="7772400" cy="1470025"/>
          </a:xfrm>
        </p:spPr>
        <p:txBody>
          <a:bodyPr/>
          <a:lstStyle>
            <a:lvl1pPr>
              <a:defRPr smtClean="0"/>
            </a:lvl1pPr>
          </a:lstStyle>
          <a:p>
            <a:r>
              <a:rPr lang="en-US" smtClean="0"/>
              <a:t>Click to edit Master title style</a:t>
            </a:r>
          </a:p>
        </p:txBody>
      </p:sp>
      <p:sp>
        <p:nvSpPr>
          <p:cNvPr id="3929092" name="Rectangle 4"/>
          <p:cNvSpPr>
            <a:spLocks noGrp="1" noChangeArrowheads="1"/>
          </p:cNvSpPr>
          <p:nvPr>
            <p:ph type="subTitle" idx="1"/>
          </p:nvPr>
        </p:nvSpPr>
        <p:spPr>
          <a:xfrm>
            <a:off x="1371600" y="3886200"/>
            <a:ext cx="6400800" cy="1752600"/>
          </a:xfrm>
        </p:spPr>
        <p:txBody>
          <a:bodyPr/>
          <a:lstStyle>
            <a:lvl1pPr marL="0" indent="0" algn="ctr">
              <a:buFont typeface="Arial" charset="0"/>
              <a:buNone/>
              <a:defRPr smtClean="0"/>
            </a:lvl1pPr>
          </a:lstStyle>
          <a:p>
            <a:r>
              <a:rPr lang="en-US" smtClean="0"/>
              <a:t>Click to edit Master subtitle style</a:t>
            </a:r>
          </a:p>
        </p:txBody>
      </p:sp>
    </p:spTree>
  </p:cSld>
  <p:clrMapOvr>
    <a:masterClrMapping/>
  </p:clrMapOvr>
  <p:transition>
    <p:wipe dir="r"/>
  </p:transition>
  <p:hf sldNum="0" hdr="0" dt="0"/>
</p:sldLayout>
</file>

<file path=ppt/slideLayouts/slideLayout26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043654316"/>
      </p:ext>
    </p:extLst>
  </p:cSld>
  <p:clrMapOvr>
    <a:masterClrMapping/>
  </p:clrMapOvr>
  <p:transition>
    <p:wipe dir="r"/>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2000951460"/>
      </p:ext>
    </p:extLst>
  </p:cSld>
  <p:clrMapOvr>
    <a:masterClrMapping/>
  </p:clrMapOvr>
  <p:transition>
    <p:wipe dir="r"/>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73065" y="357210"/>
            <a:ext cx="6631522" cy="2044795"/>
          </a:xfrm>
        </p:spPr>
        <p:txBody>
          <a:bodyPr anchor="t" anchorCtr="0"/>
          <a:lstStyle>
            <a:lvl1pPr algn="l" defTabSz="957081" rtl="0" eaLnBrk="1" fontAlgn="base" hangingPunct="1">
              <a:lnSpc>
                <a:spcPct val="90000"/>
              </a:lnSpc>
              <a:spcBef>
                <a:spcPct val="0"/>
              </a:spcBef>
              <a:spcAft>
                <a:spcPct val="0"/>
              </a:spcAft>
              <a:defRPr lang="en-US" sz="9600" b="1" dirty="0">
                <a:solidFill>
                  <a:schemeClr val="accent2"/>
                </a:solidFill>
                <a:latin typeface="+mn-lt"/>
                <a:ea typeface="+mj-ea"/>
                <a:cs typeface="+mj-cs"/>
              </a:defRPr>
            </a:lvl1pPr>
          </a:lstStyle>
          <a:p>
            <a:r>
              <a:rPr lang="en-US" dirty="0" smtClean="0"/>
              <a:t>Click to edit Master title style</a:t>
            </a:r>
            <a:endParaRPr lang="en-US" dirty="0"/>
          </a:p>
        </p:txBody>
      </p:sp>
      <p:cxnSp>
        <p:nvCxnSpPr>
          <p:cNvPr id="4" name="Straight Connector 3"/>
          <p:cNvCxnSpPr/>
          <p:nvPr userDrawn="1"/>
        </p:nvCxnSpPr>
        <p:spPr bwMode="auto">
          <a:xfrm>
            <a:off x="327025"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854742450"/>
      </p:ext>
    </p:extLst>
  </p:cSld>
  <p:clrMapOvr>
    <a:masterClrMapping/>
  </p:clrMapOvr>
  <p:transition>
    <p:wipe dir="r"/>
  </p:transition>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Light green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2"/>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2"/>
            </a:solidFill>
            <a:prstDash val="solid"/>
            <a:round/>
            <a:headEnd type="none" w="sm" len="sm"/>
            <a:tailEnd type="none" w="sm" len="sm"/>
          </a:ln>
          <a:effectLst/>
        </p:spPr>
      </p:cxnSp>
    </p:spTree>
    <p:extLst>
      <p:ext uri="{BB962C8B-B14F-4D97-AF65-F5344CB8AC3E}">
        <p14:creationId xmlns:p14="http://schemas.microsoft.com/office/powerpoint/2010/main" val="271705895"/>
      </p:ext>
    </p:extLst>
  </p:cSld>
  <p:clrMapOvr>
    <a:masterClrMapping/>
  </p:clrMapOvr>
  <p:transition>
    <p:wipe dir="r"/>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Light Orange poster">
    <p:spTree>
      <p:nvGrpSpPr>
        <p:cNvPr id="1" name=""/>
        <p:cNvGrpSpPr/>
        <p:nvPr/>
      </p:nvGrpSpPr>
      <p:grpSpPr>
        <a:xfrm>
          <a:off x="0" y="0"/>
          <a:ext cx="0" cy="0"/>
          <a:chOff x="0" y="0"/>
          <a:chExt cx="0" cy="0"/>
        </a:xfrm>
      </p:grpSpPr>
      <p:sp>
        <p:nvSpPr>
          <p:cNvPr id="2" name="Title 1"/>
          <p:cNvSpPr>
            <a:spLocks noGrp="1"/>
          </p:cNvSpPr>
          <p:nvPr>
            <p:ph type="title"/>
          </p:nvPr>
        </p:nvSpPr>
        <p:spPr>
          <a:xfrm>
            <a:off x="323300" y="287114"/>
            <a:ext cx="8453437" cy="512448"/>
          </a:xfrm>
        </p:spPr>
        <p:txBody>
          <a:bodyPr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spTree>
    <p:extLst>
      <p:ext uri="{BB962C8B-B14F-4D97-AF65-F5344CB8AC3E}">
        <p14:creationId xmlns:p14="http://schemas.microsoft.com/office/powerpoint/2010/main" val="999013934"/>
      </p:ext>
    </p:extLst>
  </p:cSld>
  <p:clrMapOvr>
    <a:masterClrMapping/>
  </p:clrMapOvr>
  <p:transition>
    <p:wipe dir="r"/>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3063" y="1339849"/>
            <a:ext cx="8459787" cy="4602163"/>
          </a:xfrm>
        </p:spPr>
        <p:txBody>
          <a:bodyPr/>
          <a:lstStyle>
            <a:lvl1pPr>
              <a:spcBef>
                <a:spcPts val="1200"/>
              </a:spcBef>
              <a:spcAft>
                <a:spcPts val="0"/>
              </a:spcAft>
              <a:buClr>
                <a:schemeClr val="bg2"/>
              </a:buClr>
              <a:defRPr sz="3200"/>
            </a:lvl1pPr>
            <a:lvl2pPr>
              <a:spcBef>
                <a:spcPts val="600"/>
              </a:spcBef>
              <a:spcAft>
                <a:spcPts val="0"/>
              </a:spcAft>
              <a:buClr>
                <a:schemeClr val="bg2"/>
              </a:buClr>
              <a:defRPr sz="2800"/>
            </a:lvl2pPr>
            <a:lvl3pPr>
              <a:spcBef>
                <a:spcPts val="600"/>
              </a:spcBef>
              <a:spcAft>
                <a:spcPts val="0"/>
              </a:spcAft>
              <a:buClr>
                <a:schemeClr val="bg2"/>
              </a:buClr>
              <a:defRPr sz="2400"/>
            </a:lvl3pPr>
            <a:lvl4pPr>
              <a:spcBef>
                <a:spcPts val="600"/>
              </a:spcBef>
              <a:spcAft>
                <a:spcPts val="0"/>
              </a:spcAft>
              <a:buClr>
                <a:schemeClr val="bg2"/>
              </a:buClr>
              <a:defRPr sz="2000"/>
            </a:lvl4pPr>
            <a:lvl5pPr>
              <a:spcBef>
                <a:spcPts val="600"/>
              </a:spcBef>
              <a:spcAft>
                <a:spcPts val="0"/>
              </a:spcAft>
              <a:buClr>
                <a:schemeClr val="bg2"/>
              </a:buCl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Title 1"/>
          <p:cNvSpPr>
            <a:spLocks noGrp="1"/>
          </p:cNvSpPr>
          <p:nvPr>
            <p:ph type="title"/>
          </p:nvPr>
        </p:nvSpPr>
        <p:spPr>
          <a:xfrm>
            <a:off x="323300" y="287114"/>
            <a:ext cx="8655600" cy="512448"/>
          </a:xfrm>
        </p:spPr>
        <p:txBody>
          <a:bodyPr wrap="square"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5"/>
            </a:solidFill>
            <a:prstDash val="solid"/>
            <a:round/>
            <a:headEnd type="none" w="sm" len="sm"/>
            <a:tailEnd type="none" w="sm" len="sm"/>
          </a:ln>
          <a:effectLst/>
        </p:spPr>
      </p:cxnSp>
    </p:spTree>
    <p:extLst>
      <p:ext uri="{BB962C8B-B14F-4D97-AF65-F5344CB8AC3E}">
        <p14:creationId xmlns:p14="http://schemas.microsoft.com/office/powerpoint/2010/main" val="3830070034"/>
      </p:ext>
    </p:extLst>
  </p:cSld>
  <p:clrMapOvr>
    <a:masterClrMapping/>
  </p:clrMapOvr>
  <p:transition>
    <p:wipe dir="r"/>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smtClean="0"/>
              <a:t>Click to edit Master title style</a:t>
            </a:r>
            <a:endParaRPr lang="de-CH"/>
          </a:p>
        </p:txBody>
      </p:sp>
      <p:sp>
        <p:nvSpPr>
          <p:cNvPr id="3" name="Text Placeholder 2"/>
          <p:cNvSpPr>
            <a:spLocks noGrp="1"/>
          </p:cNvSpPr>
          <p:nvPr>
            <p:ph type="body" sz="half" idx="1"/>
          </p:nvPr>
        </p:nvSpPr>
        <p:spPr>
          <a:xfrm>
            <a:off x="373063" y="1211263"/>
            <a:ext cx="4152900" cy="47307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quarter" idx="2"/>
          </p:nvPr>
        </p:nvSpPr>
        <p:spPr>
          <a:xfrm>
            <a:off x="4678363" y="1211263"/>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Content Placeholder 4"/>
          <p:cNvSpPr>
            <a:spLocks noGrp="1"/>
          </p:cNvSpPr>
          <p:nvPr>
            <p:ph sz="quarter" idx="3"/>
          </p:nvPr>
        </p:nvSpPr>
        <p:spPr>
          <a:xfrm>
            <a:off x="4678363" y="3652838"/>
            <a:ext cx="4154487" cy="22891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6" name="Rectangle 4"/>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3710577574"/>
      </p:ext>
    </p:extLst>
  </p:cSld>
  <p:clrMapOvr>
    <a:masterClrMapping/>
  </p:clrMapOvr>
  <p:transition>
    <p:wipe dir="r"/>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88900"/>
            <a:ext cx="8455025" cy="8128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71476" y="1211263"/>
            <a:ext cx="4164013"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7888" y="1211263"/>
            <a:ext cx="4164012"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3755814173"/>
      </p:ext>
    </p:extLst>
  </p:cSld>
  <p:clrMapOvr>
    <a:masterClrMapping/>
  </p:clrMapOvr>
  <p:transition>
    <p:wipe dir="r"/>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dirty="0" smtClean="0">
                <a:solidFill>
                  <a:srgbClr val="5F7800">
                    <a:lumMod val="75000"/>
                  </a:srgbClr>
                </a:solidFill>
              </a:rPr>
              <a:t>Classification: INTERNAL USE ONLY</a:t>
            </a:r>
            <a:endParaRPr lang="en-US" dirty="0">
              <a:solidFill>
                <a:srgbClr val="5F7800">
                  <a:lumMod val="75000"/>
                </a:srgbClr>
              </a:solidFill>
            </a:endParaRPr>
          </a:p>
        </p:txBody>
      </p:sp>
    </p:spTree>
    <p:extLst>
      <p:ext uri="{BB962C8B-B14F-4D97-AF65-F5344CB8AC3E}">
        <p14:creationId xmlns:p14="http://schemas.microsoft.com/office/powerpoint/2010/main" val="1350899721"/>
      </p:ext>
    </p:extLst>
  </p:cSld>
  <p:clrMapOvr>
    <a:masterClrMapping/>
  </p:clrMapOvr>
  <p:transition>
    <p:wipe dir="r"/>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3095287044"/>
      </p:ext>
    </p:extLst>
  </p:cSld>
  <p:clrMapOvr>
    <a:masterClrMapping/>
  </p:clrMapOvr>
  <p:transition>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ppt_land_print_2"/>
          <p:cNvPicPr>
            <a:picLocks noChangeAspect="1" noChangeArrowheads="1"/>
          </p:cNvPicPr>
          <p:nvPr/>
        </p:nvPicPr>
        <p:blipFill>
          <a:blip r:embed="rId2" cstate="print"/>
          <a:srcRect/>
          <a:stretch>
            <a:fillRect/>
          </a:stretch>
        </p:blipFill>
        <p:spPr bwMode="auto">
          <a:xfrm>
            <a:off x="0" y="6173788"/>
            <a:ext cx="9144000" cy="688975"/>
          </a:xfrm>
          <a:prstGeom prst="rect">
            <a:avLst/>
          </a:prstGeom>
          <a:noFill/>
          <a:ln w="9525">
            <a:noFill/>
            <a:miter lim="800000"/>
            <a:headEnd/>
            <a:tailEnd/>
          </a:ln>
        </p:spPr>
      </p:pic>
      <p:sp>
        <p:nvSpPr>
          <p:cNvPr id="5" name="Rectangle 6"/>
          <p:cNvSpPr>
            <a:spLocks noChangeArrowheads="1"/>
          </p:cNvSpPr>
          <p:nvPr/>
        </p:nvSpPr>
        <p:spPr bwMode="auto">
          <a:xfrm>
            <a:off x="293688" y="6483350"/>
            <a:ext cx="557212" cy="374650"/>
          </a:xfrm>
          <a:prstGeom prst="rect">
            <a:avLst/>
          </a:prstGeom>
          <a:noFill/>
          <a:ln w="9525">
            <a:noFill/>
            <a:miter lim="800000"/>
            <a:headEnd/>
            <a:tailEnd/>
          </a:ln>
        </p:spPr>
        <p:txBody>
          <a:bodyPr lIns="91402" tIns="45701" rIns="91402" bIns="45701"/>
          <a:lstStyle/>
          <a:p>
            <a:pPr defTabSz="912813" eaLnBrk="0" hangingPunct="0">
              <a:spcAft>
                <a:spcPts val="600"/>
              </a:spcAft>
              <a:tabLst>
                <a:tab pos="441325" algn="l"/>
              </a:tabLst>
              <a:defRPr/>
            </a:pPr>
            <a:fld id="{E36B9612-58A9-4DFD-A2BD-8AB9C195B12D}" type="slidenum">
              <a:rPr lang="en-US" sz="1200">
                <a:solidFill>
                  <a:srgbClr val="626469"/>
                </a:solidFill>
                <a:cs typeface="Arial" charset="0"/>
              </a:rPr>
              <a:pPr defTabSz="912813" eaLnBrk="0" hangingPunct="0">
                <a:spcAft>
                  <a:spcPts val="600"/>
                </a:spcAft>
                <a:tabLst>
                  <a:tab pos="441325" algn="l"/>
                </a:tabLst>
                <a:defRPr/>
              </a:pPr>
              <a:t>‹#›</a:t>
            </a:fld>
            <a:r>
              <a:rPr lang="en-US" sz="1200" dirty="0">
                <a:solidFill>
                  <a:srgbClr val="626469"/>
                </a:solidFill>
                <a:cs typeface="Arial" charset="0"/>
              </a:rPr>
              <a:t>	</a:t>
            </a:r>
          </a:p>
        </p:txBody>
      </p:sp>
      <p:pic>
        <p:nvPicPr>
          <p:cNvPr id="6" name="Picture 8" descr="new logo"/>
          <p:cNvPicPr>
            <a:picLocks noChangeAspect="1" noChangeArrowheads="1"/>
          </p:cNvPicPr>
          <p:nvPr/>
        </p:nvPicPr>
        <p:blipFill>
          <a:blip r:embed="rId3" cstate="print"/>
          <a:srcRect/>
          <a:stretch>
            <a:fillRect/>
          </a:stretch>
        </p:blipFill>
        <p:spPr bwMode="auto">
          <a:xfrm>
            <a:off x="7489825" y="6403975"/>
            <a:ext cx="1174750" cy="350838"/>
          </a:xfrm>
          <a:prstGeom prst="rect">
            <a:avLst/>
          </a:prstGeom>
          <a:noFill/>
          <a:ln w="9525">
            <a:noFill/>
            <a:miter lim="800000"/>
            <a:headEnd/>
            <a:tailEnd/>
          </a:ln>
        </p:spPr>
      </p:pic>
      <p:sp>
        <p:nvSpPr>
          <p:cNvPr id="7" name="TextBox 7"/>
          <p:cNvSpPr txBox="1">
            <a:spLocks noChangeArrowheads="1"/>
          </p:cNvSpPr>
          <p:nvPr/>
        </p:nvSpPr>
        <p:spPr bwMode="auto">
          <a:xfrm>
            <a:off x="928688" y="6429375"/>
            <a:ext cx="5429250" cy="428625"/>
          </a:xfrm>
          <a:prstGeom prst="rect">
            <a:avLst/>
          </a:prstGeom>
          <a:noFill/>
          <a:ln w="9525">
            <a:noFill/>
            <a:miter lim="800000"/>
            <a:headEnd/>
            <a:tailEnd/>
          </a:ln>
        </p:spPr>
        <p:txBody>
          <a:bodyPr lIns="91402" tIns="45701" rIns="91402" bIns="45701" anchor="ctr"/>
          <a:lstStyle/>
          <a:p>
            <a:pPr defTabSz="912813">
              <a:spcAft>
                <a:spcPts val="600"/>
              </a:spcAft>
              <a:defRPr/>
            </a:pPr>
            <a:r>
              <a:rPr lang="en-US" dirty="0">
                <a:solidFill>
                  <a:srgbClr val="626469"/>
                </a:solidFill>
                <a:cs typeface="Arial" charset="0"/>
              </a:rPr>
              <a:t>Classification: SECRET</a:t>
            </a:r>
          </a:p>
        </p:txBody>
      </p:sp>
      <p:sp>
        <p:nvSpPr>
          <p:cNvPr id="3024899" name="Rectangle 3"/>
          <p:cNvSpPr>
            <a:spLocks noGrp="1" noChangeArrowheads="1"/>
          </p:cNvSpPr>
          <p:nvPr>
            <p:ph type="ctrTitle"/>
          </p:nvPr>
        </p:nvSpPr>
        <p:spPr>
          <a:xfrm>
            <a:off x="685800" y="2130425"/>
            <a:ext cx="7772400" cy="1470025"/>
          </a:xfrm>
        </p:spPr>
        <p:txBody>
          <a:bodyPr/>
          <a:lstStyle>
            <a:lvl1pPr>
              <a:defRPr smtClean="0"/>
            </a:lvl1pPr>
          </a:lstStyle>
          <a:p>
            <a:r>
              <a:rPr lang="en-US" smtClean="0"/>
              <a:t>Click to edit Master title style</a:t>
            </a:r>
          </a:p>
        </p:txBody>
      </p:sp>
      <p:sp>
        <p:nvSpPr>
          <p:cNvPr id="3024900" name="Rectangle 4"/>
          <p:cNvSpPr>
            <a:spLocks noGrp="1" noChangeArrowheads="1"/>
          </p:cNvSpPr>
          <p:nvPr>
            <p:ph type="subTitle" idx="1"/>
          </p:nvPr>
        </p:nvSpPr>
        <p:spPr>
          <a:xfrm>
            <a:off x="1371600" y="3886200"/>
            <a:ext cx="6400800" cy="1752600"/>
          </a:xfrm>
        </p:spPr>
        <p:txBody>
          <a:bodyPr/>
          <a:lstStyle>
            <a:lvl1pPr marL="0" indent="0" algn="ctr">
              <a:buFont typeface="Arial" charset="0"/>
              <a:buNone/>
              <a:defRPr smtClean="0"/>
            </a:lvl1pPr>
          </a:lstStyle>
          <a:p>
            <a:r>
              <a:rPr lang="en-US" smtClean="0"/>
              <a:t>Click to edit Master subtitle style</a:t>
            </a:r>
          </a:p>
        </p:txBody>
      </p:sp>
    </p:spTree>
  </p:cSld>
  <p:clrMapOvr>
    <a:masterClrMapping/>
  </p:clrMapOvr>
  <p:transition>
    <p:wipe dir="r"/>
  </p:transition>
  <p:hf sldNum="0" hdr="0" dt="0"/>
</p:sldLayout>
</file>

<file path=ppt/slideLayouts/slideLayout270.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2273504121"/>
      </p:ext>
    </p:extLst>
  </p:cSld>
  <p:clrMapOvr>
    <a:masterClrMapping/>
  </p:clrMapOvr>
  <p:transition>
    <p:wipe dir="r"/>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buFont typeface="Arial" pitchFamily="34" charset="0"/>
              <a:buChar cha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90938523"/>
      </p:ext>
    </p:extLst>
  </p:cSld>
  <p:clrMapOvr>
    <a:masterClrMapping/>
  </p:clrMapOvr>
  <p:transition>
    <p:wipe dir="r"/>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3575723602"/>
      </p:ext>
    </p:extLst>
  </p:cSld>
  <p:clrMapOvr>
    <a:masterClrMapping/>
  </p:clrMapOvr>
  <p:transition>
    <p:wipe dir="r"/>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1567211973"/>
      </p:ext>
    </p:extLst>
  </p:cSld>
  <p:clrMapOvr>
    <a:masterClrMapping/>
  </p:clrMapOvr>
  <p:transition>
    <p:wipe dir="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1907910460"/>
      </p:ext>
    </p:extLst>
  </p:cSld>
  <p:clrMapOvr>
    <a:masterClrMapping/>
  </p:clrMapOvr>
  <p:transition>
    <p:wipe dir="r"/>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2967300073"/>
      </p:ext>
    </p:extLst>
  </p:cSld>
  <p:clrMapOvr>
    <a:masterClrMapping/>
  </p:clrMapOvr>
  <p:transition>
    <p:wipe dir="r"/>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261228984"/>
      </p:ext>
    </p:extLst>
  </p:cSld>
  <p:clrMapOvr>
    <a:masterClrMapping/>
  </p:clrMapOvr>
  <p:transition>
    <p:wipe dir="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2857107422"/>
      </p:ext>
    </p:extLst>
  </p:cSld>
  <p:clrMapOvr>
    <a:masterClrMapping/>
  </p:clrMapOvr>
  <p:transition>
    <p:wipe dir="r"/>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79564630"/>
      </p:ext>
    </p:extLst>
  </p:cSld>
  <p:clrMapOvr>
    <a:masterClrMapping/>
  </p:clrMapOvr>
  <p:transition>
    <p:wipe dir="r"/>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31"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10"/>
          <p:cNvSpPr>
            <a:spLocks noGrp="1"/>
          </p:cNvSpPr>
          <p:nvPr>
            <p:ph type="body" sz="quarter" idx="12" hasCustomPrompt="1"/>
            <p:custDataLst>
              <p:tags r:id="rId3"/>
            </p:custDataLst>
          </p:nvPr>
        </p:nvSpPr>
        <p:spPr>
          <a:xfrm>
            <a:off x="76199" y="123825"/>
            <a:ext cx="392269" cy="404813"/>
          </a:xfrm>
          <a:prstGeom prst="flowChartDelay">
            <a:avLst/>
          </a:prstGeom>
          <a:solidFill>
            <a:schemeClr val="tx2"/>
          </a:solidFill>
          <a:ln>
            <a:solidFill>
              <a:schemeClr val="tx1"/>
            </a:solidFill>
          </a:ln>
          <a:effectLst>
            <a:outerShdw blurRad="50800" dist="38100" dir="2700000" algn="tl" rotWithShape="0">
              <a:prstClr val="black">
                <a:alpha val="40000"/>
              </a:prstClr>
            </a:outerShdw>
          </a:effectLst>
        </p:spPr>
        <p:txBody>
          <a:bodyPr anchor="ctr"/>
          <a:lstStyle>
            <a:lvl1pPr algn="ctr">
              <a:buNone/>
              <a:defRPr sz="1600" b="1">
                <a:solidFill>
                  <a:schemeClr val="bg1"/>
                </a:solidFill>
              </a:defRPr>
            </a:lvl1pPr>
            <a:lvl2pPr>
              <a:buNone/>
              <a:defRPr sz="1600"/>
            </a:lvl2pPr>
            <a:lvl3pPr>
              <a:buNone/>
              <a:defRPr sz="1600"/>
            </a:lvl3pPr>
            <a:lvl4pPr>
              <a:buNone/>
              <a:defRPr sz="1600"/>
            </a:lvl4pPr>
            <a:lvl5pPr>
              <a:buNone/>
              <a:defRPr sz="1600"/>
            </a:lvl5pPr>
          </a:lstStyle>
          <a:p>
            <a:pPr lvl="0"/>
            <a:r>
              <a:rPr lang="en-US" smtClean="0"/>
              <a:t>1</a:t>
            </a:r>
            <a:endParaRPr lang="en-US" dirty="0"/>
          </a:p>
        </p:txBody>
      </p:sp>
      <p:sp>
        <p:nvSpPr>
          <p:cNvPr id="2" name="Title 1"/>
          <p:cNvSpPr>
            <a:spLocks noGrp="1"/>
          </p:cNvSpPr>
          <p:nvPr>
            <p:ph type="title"/>
            <p:custDataLst>
              <p:tags r:id="rId4"/>
            </p:custDataLst>
          </p:nvPr>
        </p:nvSpPr>
        <p:spPr>
          <a:xfrm>
            <a:off x="1690776" y="88900"/>
            <a:ext cx="7135724" cy="812800"/>
          </a:xfrm>
        </p:spPr>
        <p:txBody>
          <a:bodyPr anchor="t"/>
          <a:lstStyle/>
          <a:p>
            <a:r>
              <a:rPr lang="en-US" smtClean="0"/>
              <a:t>Click to edit Master title style</a:t>
            </a:r>
            <a:endParaRPr lang="en-US" dirty="0"/>
          </a:p>
        </p:txBody>
      </p:sp>
      <p:sp>
        <p:nvSpPr>
          <p:cNvPr id="3" name="Content Placeholder 2"/>
          <p:cNvSpPr>
            <a:spLocks noGrp="1"/>
          </p:cNvSpPr>
          <p:nvPr>
            <p:ph idx="1"/>
            <p:custDataLst>
              <p:tags r:id="rId5"/>
            </p:custDataLst>
          </p:nvPr>
        </p:nvSpPr>
        <p:spPr>
          <a:xfrm>
            <a:off x="304800" y="1219200"/>
            <a:ext cx="8610600"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ftr" sz="quarter" idx="10"/>
            <p:custDataLst>
              <p:tags r:id="rId6"/>
            </p:custDataLst>
          </p:nvPr>
        </p:nvSpPr>
        <p:spPr>
          <a:xfrm>
            <a:off x="792163" y="6457183"/>
            <a:ext cx="5753100" cy="376238"/>
          </a:xfrm>
          <a:ln/>
        </p:spPr>
        <p:txBody>
          <a:bodyPr/>
          <a:lstStyle>
            <a:lvl1pPr>
              <a:defRPr/>
            </a:lvl1pPr>
          </a:lstStyle>
          <a:p>
            <a:pPr>
              <a:defRPr/>
            </a:pPr>
            <a:r>
              <a:rPr lang="en-US" dirty="0" smtClean="0">
                <a:solidFill>
                  <a:srgbClr val="626469"/>
                </a:solidFill>
              </a:rPr>
              <a:t>Classification: CONFIDENTIAL</a:t>
            </a:r>
            <a:endParaRPr lang="en-US" dirty="0">
              <a:solidFill>
                <a:srgbClr val="626469"/>
              </a:solidFill>
            </a:endParaRPr>
          </a:p>
        </p:txBody>
      </p:sp>
      <p:sp>
        <p:nvSpPr>
          <p:cNvPr id="9" name="Text Placeholder 8"/>
          <p:cNvSpPr>
            <a:spLocks noGrp="1"/>
          </p:cNvSpPr>
          <p:nvPr>
            <p:ph type="body" sz="quarter" idx="11"/>
            <p:custDataLst>
              <p:tags r:id="rId7"/>
            </p:custDataLst>
          </p:nvPr>
        </p:nvSpPr>
        <p:spPr>
          <a:xfrm>
            <a:off x="433390" y="88900"/>
            <a:ext cx="1166810" cy="609600"/>
          </a:xfrm>
          <a:prstGeom prst="homePlate">
            <a:avLst>
              <a:gd name="adj" fmla="val 14954"/>
            </a:avLst>
          </a:prstGeom>
          <a:solidFill>
            <a:schemeClr val="tx1">
              <a:lumMod val="20000"/>
              <a:lumOff val="80000"/>
            </a:schemeClr>
          </a:solidFill>
          <a:ln>
            <a:solidFill>
              <a:schemeClr val="tx1"/>
            </a:solidFill>
          </a:ln>
          <a:effectLst>
            <a:outerShdw blurRad="50800" dist="38100" dir="2700000" algn="tl" rotWithShape="0">
              <a:prstClr val="black">
                <a:alpha val="40000"/>
              </a:prstClr>
            </a:outerShdw>
          </a:effectLst>
        </p:spPr>
        <p:txBody>
          <a:bodyPr lIns="72000" tIns="36000" bIns="36000" anchor="ctr"/>
          <a:lstStyle>
            <a:lvl1pPr marL="0" indent="0">
              <a:buNone/>
              <a:defRPr sz="1100" b="1"/>
            </a:lvl1pPr>
            <a:lvl2pPr>
              <a:defRPr sz="1100"/>
            </a:lvl2pPr>
            <a:lvl3pPr>
              <a:defRPr sz="1100"/>
            </a:lvl3pPr>
            <a:lvl4pPr>
              <a:defRPr sz="1100"/>
            </a:lvl4pPr>
            <a:lvl5pPr>
              <a:defRPr sz="1100"/>
            </a:lvl5pPr>
          </a:lstStyle>
          <a:p>
            <a:pPr lvl="0"/>
            <a:r>
              <a:rPr lang="en-US" smtClean="0"/>
              <a:t>Click to edit Master text styles</a:t>
            </a:r>
            <a:endParaRPr lang="en-US" dirty="0"/>
          </a:p>
        </p:txBody>
      </p:sp>
    </p:spTree>
    <p:extLst>
      <p:ext uri="{BB962C8B-B14F-4D97-AF65-F5344CB8AC3E}">
        <p14:creationId xmlns:p14="http://schemas.microsoft.com/office/powerpoint/2010/main" val="2123584635"/>
      </p:ext>
    </p:extLst>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5" name="Fußzeilenplatzhalter 5"/>
          <p:cNvSpPr>
            <a:spLocks noGrp="1"/>
          </p:cNvSpPr>
          <p:nvPr>
            <p:ph type="ftr" sz="quarter" idx="10"/>
          </p:nvPr>
        </p:nvSpPr>
        <p:spPr bwMode="auto">
          <a:xfrm>
            <a:off x="4964113" y="5929313"/>
            <a:ext cx="2771775" cy="360362"/>
          </a:xfrm>
          <a:prstGeom prst="rect">
            <a:avLst/>
          </a:prstGeom>
          <a:ln>
            <a:miter lim="800000"/>
            <a:headEnd/>
            <a:tailEnd/>
          </a:ln>
        </p:spPr>
        <p:txBody>
          <a:bodyPr vert="horz" wrap="square" lIns="91402" tIns="0" rIns="0" bIns="0" numCol="1" anchor="t" anchorCtr="0" compatLnSpc="1">
            <a:prstTxWarp prst="textNoShape">
              <a:avLst/>
            </a:prstTxWarp>
          </a:bodyPr>
          <a:lstStyle>
            <a:lvl1pPr algn="r">
              <a:buFontTx/>
              <a:buNone/>
              <a:defRPr sz="1200" b="0">
                <a:solidFill>
                  <a:srgbClr val="475A00"/>
                </a:solidFill>
              </a:defRPr>
            </a:lvl1pPr>
          </a:lstStyle>
          <a:p>
            <a:pPr>
              <a:defRPr/>
            </a:pPr>
            <a:r>
              <a:rPr lang="en-US" dirty="0">
                <a:cs typeface="Arial" charset="0"/>
              </a:rPr>
              <a:t>Classification: </a:t>
            </a:r>
            <a:r>
              <a:rPr lang="en-US" dirty="0" smtClean="0">
                <a:cs typeface="Arial" charset="0"/>
              </a:rPr>
              <a:t>PUBLIC USE</a:t>
            </a:r>
            <a:endParaRPr lang="en-US" dirty="0">
              <a:cs typeface="Arial" charset="0"/>
            </a:endParaRPr>
          </a:p>
        </p:txBody>
      </p:sp>
    </p:spTree>
  </p:cSld>
  <p:clrMapOvr>
    <a:masterClrMapping/>
  </p:clrMapOvr>
  <p:transition>
    <p:wipe dir="r"/>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3063" y="1339849"/>
            <a:ext cx="8459787" cy="4602163"/>
          </a:xfrm>
        </p:spPr>
        <p:txBody>
          <a:bodyPr/>
          <a:lstStyle>
            <a:lvl1pPr>
              <a:spcBef>
                <a:spcPts val="1200"/>
              </a:spcBef>
              <a:spcAft>
                <a:spcPts val="0"/>
              </a:spcAft>
              <a:buClr>
                <a:schemeClr val="bg2"/>
              </a:buClr>
              <a:defRPr sz="3200"/>
            </a:lvl1pPr>
            <a:lvl2pPr>
              <a:spcBef>
                <a:spcPts val="600"/>
              </a:spcBef>
              <a:spcAft>
                <a:spcPts val="0"/>
              </a:spcAft>
              <a:buClr>
                <a:schemeClr val="bg2"/>
              </a:buClr>
              <a:defRPr sz="2800"/>
            </a:lvl2pPr>
            <a:lvl3pPr>
              <a:spcBef>
                <a:spcPts val="600"/>
              </a:spcBef>
              <a:spcAft>
                <a:spcPts val="0"/>
              </a:spcAft>
              <a:buClr>
                <a:schemeClr val="bg2"/>
              </a:buClr>
              <a:defRPr sz="2400"/>
            </a:lvl3pPr>
            <a:lvl4pPr>
              <a:spcBef>
                <a:spcPts val="600"/>
              </a:spcBef>
              <a:spcAft>
                <a:spcPts val="0"/>
              </a:spcAft>
              <a:buClr>
                <a:schemeClr val="bg2"/>
              </a:buClr>
              <a:defRPr sz="2000"/>
            </a:lvl4pPr>
            <a:lvl5pPr>
              <a:spcBef>
                <a:spcPts val="600"/>
              </a:spcBef>
              <a:spcAft>
                <a:spcPts val="0"/>
              </a:spcAft>
              <a:buClr>
                <a:schemeClr val="bg2"/>
              </a:buCl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Title 1"/>
          <p:cNvSpPr>
            <a:spLocks noGrp="1"/>
          </p:cNvSpPr>
          <p:nvPr>
            <p:ph type="title"/>
          </p:nvPr>
        </p:nvSpPr>
        <p:spPr>
          <a:xfrm>
            <a:off x="323300" y="287114"/>
            <a:ext cx="8655600" cy="512448"/>
          </a:xfrm>
        </p:spPr>
        <p:txBody>
          <a:bodyPr wrap="square" anchor="t" anchorCtr="0">
            <a:spAutoFit/>
          </a:bodyPr>
          <a:lstStyle>
            <a:lvl1pPr>
              <a:defRPr sz="3700" b="0">
                <a:solidFill>
                  <a:schemeClr val="accent5"/>
                </a:solidFill>
                <a:latin typeface="+mn-lt"/>
              </a:defRPr>
            </a:lvl1pPr>
          </a:lstStyle>
          <a:p>
            <a:r>
              <a:rPr lang="en-US" dirty="0" smtClean="0"/>
              <a:t>Click to edit Master title style</a:t>
            </a:r>
            <a:endParaRPr lang="en-GB" dirty="0"/>
          </a:p>
        </p:txBody>
      </p:sp>
      <p:cxnSp>
        <p:nvCxnSpPr>
          <p:cNvPr id="5" name="Straight Connector 4"/>
          <p:cNvCxnSpPr/>
          <p:nvPr userDrawn="1"/>
        </p:nvCxnSpPr>
        <p:spPr bwMode="auto">
          <a:xfrm>
            <a:off x="326860" y="258501"/>
            <a:ext cx="8490857" cy="0"/>
          </a:xfrm>
          <a:prstGeom prst="line">
            <a:avLst/>
          </a:prstGeom>
          <a:solidFill>
            <a:schemeClr val="accent2"/>
          </a:solidFill>
          <a:ln w="63500" cap="flat" cmpd="sng" algn="ctr">
            <a:solidFill>
              <a:schemeClr val="accent5"/>
            </a:solidFill>
            <a:prstDash val="solid"/>
            <a:round/>
            <a:headEnd type="none" w="sm" len="sm"/>
            <a:tailEnd type="none" w="sm" len="sm"/>
          </a:ln>
          <a:effectLst/>
        </p:spPr>
      </p:cxnSp>
    </p:spTree>
    <p:extLst>
      <p:ext uri="{BB962C8B-B14F-4D97-AF65-F5344CB8AC3E}">
        <p14:creationId xmlns:p14="http://schemas.microsoft.com/office/powerpoint/2010/main" val="461982356"/>
      </p:ext>
    </p:extLst>
  </p:cSld>
  <p:clrMapOvr>
    <a:masterClrMapping/>
  </p:clrMapOvr>
  <p:transition>
    <p:wipe dir="r"/>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dirty="0" smtClean="0">
                <a:solidFill>
                  <a:srgbClr val="5F7800">
                    <a:lumMod val="75000"/>
                  </a:srgbClr>
                </a:solidFill>
              </a:rPr>
              <a:t>Classification: INTERNAL USE ONLY</a:t>
            </a:r>
            <a:endParaRPr lang="en-US" dirty="0">
              <a:solidFill>
                <a:srgbClr val="5F7800">
                  <a:lumMod val="75000"/>
                </a:srgbClr>
              </a:solidFill>
            </a:endParaRPr>
          </a:p>
        </p:txBody>
      </p:sp>
    </p:spTree>
    <p:extLst>
      <p:ext uri="{BB962C8B-B14F-4D97-AF65-F5344CB8AC3E}">
        <p14:creationId xmlns:p14="http://schemas.microsoft.com/office/powerpoint/2010/main" val="107969075"/>
      </p:ext>
    </p:extLst>
  </p:cSld>
  <p:clrMapOvr>
    <a:masterClrMapping/>
  </p:clrMapOvr>
  <p:transition>
    <p:wipe dir="r"/>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3333561455"/>
      </p:ext>
    </p:extLst>
  </p:cSld>
  <p:clrMapOvr>
    <a:masterClrMapping/>
  </p:clrMapOvr>
  <p:transition>
    <p:wipe dir="r"/>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2000335635"/>
      </p:ext>
    </p:extLst>
  </p:cSld>
  <p:clrMapOvr>
    <a:masterClrMapping/>
  </p:clrMapOvr>
  <p:transition>
    <p:wipe dir="r"/>
  </p:transition>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buFont typeface="Arial" pitchFamily="34" charset="0"/>
              <a:buChar cha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693469262"/>
      </p:ext>
    </p:extLst>
  </p:cSld>
  <p:clrMapOvr>
    <a:masterClrMapping/>
  </p:clrMapOvr>
  <p:transition>
    <p:wipe dir="r"/>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4046508093"/>
      </p:ext>
    </p:extLst>
  </p:cSld>
  <p:clrMapOvr>
    <a:masterClrMapping/>
  </p:clrMapOvr>
  <p:transition>
    <p:wipe dir="r"/>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2489653141"/>
      </p:ext>
    </p:extLst>
  </p:cSld>
  <p:clrMapOvr>
    <a:masterClrMapping/>
  </p:clrMapOvr>
  <p:transition>
    <p:wipe dir="r"/>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3936766127"/>
      </p:ext>
    </p:extLst>
  </p:cSld>
  <p:clrMapOvr>
    <a:masterClrMapping/>
  </p:clrMapOvr>
  <p:transition>
    <p:wipe dir="r"/>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1202294969"/>
      </p:ext>
    </p:extLst>
  </p:cSld>
  <p:clrMapOvr>
    <a:masterClrMapping/>
  </p:clrMapOvr>
  <p:transition>
    <p:wipe dir="r"/>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2881659233"/>
      </p:ext>
    </p:extLst>
  </p:cSld>
  <p:clrMapOvr>
    <a:masterClrMapping/>
  </p:clrMapOvr>
  <p:transition>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1767400257"/>
      </p:ext>
    </p:extLst>
  </p:cSld>
  <p:clrMapOvr>
    <a:masterClrMapping/>
  </p:clrMapOvr>
  <p:transition>
    <p:wipe dir="r"/>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3203802401"/>
      </p:ext>
    </p:extLst>
  </p:cSld>
  <p:clrMapOvr>
    <a:masterClrMapping/>
  </p:clrMapOvr>
  <p:transition>
    <p:wipe dir="r"/>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455" name="think-cell Slide" r:id="rId9" imgW="360" imgH="360" progId="">
                  <p:embed/>
                </p:oleObj>
              </mc:Choice>
              <mc:Fallback>
                <p:oleObj name="think-cell Slide" r:id="rId9" imgW="360" imgH="36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10"/>
          <p:cNvSpPr>
            <a:spLocks noGrp="1"/>
          </p:cNvSpPr>
          <p:nvPr>
            <p:ph type="body" sz="quarter" idx="12" hasCustomPrompt="1"/>
            <p:custDataLst>
              <p:tags r:id="rId3"/>
            </p:custDataLst>
          </p:nvPr>
        </p:nvSpPr>
        <p:spPr>
          <a:xfrm>
            <a:off x="76199" y="123825"/>
            <a:ext cx="392269" cy="404813"/>
          </a:xfrm>
          <a:prstGeom prst="flowChartDelay">
            <a:avLst/>
          </a:prstGeom>
          <a:solidFill>
            <a:schemeClr val="tx2"/>
          </a:solidFill>
          <a:ln>
            <a:solidFill>
              <a:schemeClr val="tx1"/>
            </a:solidFill>
          </a:ln>
          <a:effectLst>
            <a:outerShdw blurRad="50800" dist="38100" dir="2700000" algn="tl" rotWithShape="0">
              <a:prstClr val="black">
                <a:alpha val="40000"/>
              </a:prstClr>
            </a:outerShdw>
          </a:effectLst>
        </p:spPr>
        <p:txBody>
          <a:bodyPr anchor="ctr"/>
          <a:lstStyle>
            <a:lvl1pPr algn="ctr">
              <a:buNone/>
              <a:defRPr sz="1600" b="1">
                <a:solidFill>
                  <a:schemeClr val="bg1"/>
                </a:solidFill>
              </a:defRPr>
            </a:lvl1pPr>
            <a:lvl2pPr>
              <a:buNone/>
              <a:defRPr sz="1600"/>
            </a:lvl2pPr>
            <a:lvl3pPr>
              <a:buNone/>
              <a:defRPr sz="1600"/>
            </a:lvl3pPr>
            <a:lvl4pPr>
              <a:buNone/>
              <a:defRPr sz="1600"/>
            </a:lvl4pPr>
            <a:lvl5pPr>
              <a:buNone/>
              <a:defRPr sz="1600"/>
            </a:lvl5pPr>
          </a:lstStyle>
          <a:p>
            <a:pPr lvl="0"/>
            <a:r>
              <a:rPr lang="en-US" smtClean="0"/>
              <a:t>1</a:t>
            </a:r>
            <a:endParaRPr lang="en-US" dirty="0"/>
          </a:p>
        </p:txBody>
      </p:sp>
      <p:sp>
        <p:nvSpPr>
          <p:cNvPr id="2" name="Title 1"/>
          <p:cNvSpPr>
            <a:spLocks noGrp="1"/>
          </p:cNvSpPr>
          <p:nvPr>
            <p:ph type="title"/>
            <p:custDataLst>
              <p:tags r:id="rId4"/>
            </p:custDataLst>
          </p:nvPr>
        </p:nvSpPr>
        <p:spPr>
          <a:xfrm>
            <a:off x="1690776" y="88900"/>
            <a:ext cx="7135724" cy="812800"/>
          </a:xfrm>
        </p:spPr>
        <p:txBody>
          <a:bodyPr anchor="t"/>
          <a:lstStyle/>
          <a:p>
            <a:r>
              <a:rPr lang="en-US" smtClean="0"/>
              <a:t>Click to edit Master title style</a:t>
            </a:r>
            <a:endParaRPr lang="en-US" dirty="0"/>
          </a:p>
        </p:txBody>
      </p:sp>
      <p:sp>
        <p:nvSpPr>
          <p:cNvPr id="3" name="Content Placeholder 2"/>
          <p:cNvSpPr>
            <a:spLocks noGrp="1"/>
          </p:cNvSpPr>
          <p:nvPr>
            <p:ph idx="1"/>
            <p:custDataLst>
              <p:tags r:id="rId5"/>
            </p:custDataLst>
          </p:nvPr>
        </p:nvSpPr>
        <p:spPr>
          <a:xfrm>
            <a:off x="304800" y="1219200"/>
            <a:ext cx="8610600"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ftr" sz="quarter" idx="10"/>
            <p:custDataLst>
              <p:tags r:id="rId6"/>
            </p:custDataLst>
          </p:nvPr>
        </p:nvSpPr>
        <p:spPr>
          <a:xfrm>
            <a:off x="792163" y="6457183"/>
            <a:ext cx="5753100" cy="376238"/>
          </a:xfrm>
          <a:ln/>
        </p:spPr>
        <p:txBody>
          <a:bodyPr/>
          <a:lstStyle>
            <a:lvl1pPr>
              <a:defRPr/>
            </a:lvl1pPr>
          </a:lstStyle>
          <a:p>
            <a:pPr>
              <a:defRPr/>
            </a:pPr>
            <a:r>
              <a:rPr lang="en-US" dirty="0" smtClean="0">
                <a:solidFill>
                  <a:srgbClr val="626469"/>
                </a:solidFill>
              </a:rPr>
              <a:t>Classification: CONFIDENTIAL</a:t>
            </a:r>
            <a:endParaRPr lang="en-US" dirty="0">
              <a:solidFill>
                <a:srgbClr val="626469"/>
              </a:solidFill>
            </a:endParaRPr>
          </a:p>
        </p:txBody>
      </p:sp>
      <p:sp>
        <p:nvSpPr>
          <p:cNvPr id="9" name="Text Placeholder 8"/>
          <p:cNvSpPr>
            <a:spLocks noGrp="1"/>
          </p:cNvSpPr>
          <p:nvPr>
            <p:ph type="body" sz="quarter" idx="11"/>
            <p:custDataLst>
              <p:tags r:id="rId7"/>
            </p:custDataLst>
          </p:nvPr>
        </p:nvSpPr>
        <p:spPr>
          <a:xfrm>
            <a:off x="433390" y="88900"/>
            <a:ext cx="1166810" cy="609600"/>
          </a:xfrm>
          <a:prstGeom prst="homePlate">
            <a:avLst>
              <a:gd name="adj" fmla="val 14954"/>
            </a:avLst>
          </a:prstGeom>
          <a:solidFill>
            <a:schemeClr val="tx1">
              <a:lumMod val="20000"/>
              <a:lumOff val="80000"/>
            </a:schemeClr>
          </a:solidFill>
          <a:ln>
            <a:solidFill>
              <a:schemeClr val="tx1"/>
            </a:solidFill>
          </a:ln>
          <a:effectLst>
            <a:outerShdw blurRad="50800" dist="38100" dir="2700000" algn="tl" rotWithShape="0">
              <a:prstClr val="black">
                <a:alpha val="40000"/>
              </a:prstClr>
            </a:outerShdw>
          </a:effectLst>
        </p:spPr>
        <p:txBody>
          <a:bodyPr lIns="72000" tIns="36000" bIns="36000" anchor="ctr"/>
          <a:lstStyle>
            <a:lvl1pPr marL="0" indent="0">
              <a:buNone/>
              <a:defRPr sz="1100" b="1"/>
            </a:lvl1pPr>
            <a:lvl2pPr>
              <a:defRPr sz="1100"/>
            </a:lvl2pPr>
            <a:lvl3pPr>
              <a:defRPr sz="1100"/>
            </a:lvl3pPr>
            <a:lvl4pPr>
              <a:defRPr sz="1100"/>
            </a:lvl4pPr>
            <a:lvl5pPr>
              <a:defRPr sz="1100"/>
            </a:lvl5pPr>
          </a:lstStyle>
          <a:p>
            <a:pPr lvl="0"/>
            <a:r>
              <a:rPr lang="en-US" smtClean="0"/>
              <a:t>Click to edit Master text styles</a:t>
            </a:r>
            <a:endParaRPr lang="en-US" dirty="0"/>
          </a:p>
        </p:txBody>
      </p:sp>
    </p:spTree>
    <p:extLst>
      <p:ext uri="{BB962C8B-B14F-4D97-AF65-F5344CB8AC3E}">
        <p14:creationId xmlns:p14="http://schemas.microsoft.com/office/powerpoint/2010/main" val="2919888914"/>
      </p:ext>
    </p:extLst>
  </p:cSld>
  <p:clrMapOvr>
    <a:masterClrMapping/>
  </p:clrMapOvr>
  <p:transition>
    <p:wipe dir="r"/>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smtClean="0">
                <a:solidFill>
                  <a:srgbClr val="5F7800">
                    <a:lumMod val="75000"/>
                  </a:srgbClr>
                </a:solidFill>
              </a:rPr>
              <a:t>Classification: INTERNAL USE ONLY</a:t>
            </a:r>
            <a:endParaRPr lang="en-US" dirty="0">
              <a:solidFill>
                <a:srgbClr val="5F7800">
                  <a:lumMod val="75000"/>
                </a:srgbClr>
              </a:solidFill>
            </a:endParaRPr>
          </a:p>
        </p:txBody>
      </p:sp>
    </p:spTree>
    <p:extLst>
      <p:ext uri="{BB962C8B-B14F-4D97-AF65-F5344CB8AC3E}">
        <p14:creationId xmlns:p14="http://schemas.microsoft.com/office/powerpoint/2010/main" val="2672233948"/>
      </p:ext>
    </p:extLst>
  </p:cSld>
  <p:clrMapOvr>
    <a:masterClrMapping/>
  </p:clrMapOvr>
  <p:transition>
    <p:wipe dir="r"/>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2718605151"/>
      </p:ext>
    </p:extLst>
  </p:cSld>
  <p:clrMapOvr>
    <a:masterClrMapping/>
  </p:clrMapOvr>
  <p:transition>
    <p:wipe dir="r"/>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3409182563"/>
      </p:ext>
    </p:extLst>
  </p:cSld>
  <p:clrMapOvr>
    <a:masterClrMapping/>
  </p:clrMapOvr>
  <p:transition>
    <p:wipe dir="r"/>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2388054249"/>
      </p:ext>
    </p:extLst>
  </p:cSld>
  <p:clrMapOvr>
    <a:masterClrMapping/>
  </p:clrMapOvr>
  <p:transition>
    <p:wipe dir="r"/>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dirty="0" smtClean="0">
                <a:solidFill>
                  <a:srgbClr val="626469"/>
                </a:solidFill>
              </a:rPr>
              <a:t>Classification: INTERNAL USE ONLY</a:t>
            </a:r>
            <a:endParaRPr lang="en-US" dirty="0">
              <a:solidFill>
                <a:srgbClr val="626469"/>
              </a:solidFill>
            </a:endParaRPr>
          </a:p>
        </p:txBody>
      </p:sp>
    </p:spTree>
    <p:extLst>
      <p:ext uri="{BB962C8B-B14F-4D97-AF65-F5344CB8AC3E}">
        <p14:creationId xmlns:p14="http://schemas.microsoft.com/office/powerpoint/2010/main" val="3507766884"/>
      </p:ext>
    </p:extLst>
  </p:cSld>
  <p:clrMapOvr>
    <a:masterClrMapping/>
  </p:clrMapOvr>
  <p:transition>
    <p:wipe dir="r"/>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352270399"/>
      </p:ext>
    </p:extLst>
  </p:cSld>
  <p:clrMapOvr>
    <a:masterClrMapping/>
  </p:clrMapOvr>
  <p:transition>
    <p:wipe dir="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1366097991"/>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a:t>Click to edit Master title style</a:t>
            </a:r>
          </a:p>
        </p:txBody>
      </p:sp>
      <p:sp>
        <p:nvSpPr>
          <p:cNvPr id="3" name="Content Placeholder 2"/>
          <p:cNvSpPr>
            <a:spLocks noGrp="1"/>
          </p:cNvSpPr>
          <p:nvPr>
            <p:ph idx="1"/>
          </p:nvPr>
        </p:nvSpPr>
        <p:spPr>
          <a:xfrm>
            <a:off x="373063" y="1211263"/>
            <a:ext cx="8459787" cy="4730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637627482"/>
      </p:ext>
    </p:extLst>
  </p:cSld>
  <p:clrMapOvr>
    <a:masterClrMapping/>
  </p:clrMapOvr>
  <p:transition>
    <p:wipe dir="r"/>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912722608"/>
      </p:ext>
    </p:extLst>
  </p:cSld>
  <p:clrMapOvr>
    <a:masterClrMapping/>
  </p:clrMapOvr>
  <p:transition>
    <p:wipe dir="r"/>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2186986485"/>
      </p:ext>
    </p:extLst>
  </p:cSld>
  <p:clrMapOvr>
    <a:masterClrMapping/>
  </p:clrMapOvr>
  <p:transition>
    <p:wipe dir="r"/>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smtClean="0">
                <a:solidFill>
                  <a:srgbClr val="626469"/>
                </a:solidFill>
              </a:rPr>
              <a:t>Classification: INTERNAL USE ONLY</a:t>
            </a:r>
            <a:endParaRPr lang="en-US">
              <a:solidFill>
                <a:srgbClr val="626469"/>
              </a:solidFill>
            </a:endParaRPr>
          </a:p>
        </p:txBody>
      </p:sp>
    </p:spTree>
    <p:extLst>
      <p:ext uri="{BB962C8B-B14F-4D97-AF65-F5344CB8AC3E}">
        <p14:creationId xmlns:p14="http://schemas.microsoft.com/office/powerpoint/2010/main" val="2322923868"/>
      </p:ext>
    </p:extLst>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a:t>Click to edit Master title style</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7" descr="ppt_land_print_2"/>
          <p:cNvPicPr>
            <a:picLocks noChangeAspect="1" noChangeArrowheads="1"/>
          </p:cNvPicPr>
          <p:nvPr/>
        </p:nvPicPr>
        <p:blipFill>
          <a:blip r:embed="rId2" cstate="print"/>
          <a:srcRect/>
          <a:stretch>
            <a:fillRect/>
          </a:stretch>
        </p:blipFill>
        <p:spPr bwMode="auto">
          <a:xfrm>
            <a:off x="0" y="6173788"/>
            <a:ext cx="9144000" cy="688975"/>
          </a:xfrm>
          <a:prstGeom prst="rect">
            <a:avLst/>
          </a:prstGeom>
          <a:noFill/>
          <a:ln w="9525">
            <a:noFill/>
            <a:miter lim="800000"/>
            <a:headEnd/>
            <a:tailEnd/>
          </a:ln>
        </p:spPr>
      </p:pic>
      <p:sp>
        <p:nvSpPr>
          <p:cNvPr id="5" name="Rectangle 6"/>
          <p:cNvSpPr>
            <a:spLocks noChangeArrowheads="1"/>
          </p:cNvSpPr>
          <p:nvPr/>
        </p:nvSpPr>
        <p:spPr bwMode="auto">
          <a:xfrm>
            <a:off x="293688" y="6483350"/>
            <a:ext cx="557212" cy="374650"/>
          </a:xfrm>
          <a:prstGeom prst="rect">
            <a:avLst/>
          </a:prstGeom>
          <a:noFill/>
          <a:ln w="9525">
            <a:noFill/>
            <a:miter lim="800000"/>
            <a:headEnd/>
            <a:tailEnd/>
          </a:ln>
        </p:spPr>
        <p:txBody>
          <a:bodyPr lIns="91402" tIns="45701" rIns="91402" bIns="45701"/>
          <a:lstStyle/>
          <a:p>
            <a:pPr defTabSz="912813" eaLnBrk="0" hangingPunct="0">
              <a:spcAft>
                <a:spcPts val="600"/>
              </a:spcAft>
              <a:tabLst>
                <a:tab pos="441325" algn="l"/>
              </a:tabLst>
              <a:defRPr/>
            </a:pPr>
            <a:fld id="{DAC4BBA3-999B-4194-98DA-194A2C4489EE}" type="slidenum">
              <a:rPr lang="en-US" sz="1200">
                <a:solidFill>
                  <a:srgbClr val="626469"/>
                </a:solidFill>
                <a:cs typeface="Arial" charset="0"/>
              </a:rPr>
              <a:pPr defTabSz="912813" eaLnBrk="0" hangingPunct="0">
                <a:spcAft>
                  <a:spcPts val="600"/>
                </a:spcAft>
                <a:tabLst>
                  <a:tab pos="441325" algn="l"/>
                </a:tabLst>
                <a:defRPr/>
              </a:pPr>
              <a:t>‹#›</a:t>
            </a:fld>
            <a:r>
              <a:rPr lang="en-US" sz="1200" dirty="0">
                <a:solidFill>
                  <a:srgbClr val="626469"/>
                </a:solidFill>
                <a:cs typeface="Arial" charset="0"/>
              </a:rPr>
              <a:t>	</a:t>
            </a:r>
          </a:p>
        </p:txBody>
      </p:sp>
      <p:pic>
        <p:nvPicPr>
          <p:cNvPr id="6" name="Picture 8" descr="new logo"/>
          <p:cNvPicPr>
            <a:picLocks noChangeAspect="1" noChangeArrowheads="1"/>
          </p:cNvPicPr>
          <p:nvPr/>
        </p:nvPicPr>
        <p:blipFill>
          <a:blip r:embed="rId3" cstate="print"/>
          <a:srcRect/>
          <a:stretch>
            <a:fillRect/>
          </a:stretch>
        </p:blipFill>
        <p:spPr bwMode="auto">
          <a:xfrm>
            <a:off x="7489825" y="6403975"/>
            <a:ext cx="1174750" cy="350838"/>
          </a:xfrm>
          <a:prstGeom prst="rect">
            <a:avLst/>
          </a:prstGeom>
          <a:noFill/>
          <a:ln w="9525">
            <a:noFill/>
            <a:miter lim="800000"/>
            <a:headEnd/>
            <a:tailEnd/>
          </a:ln>
        </p:spPr>
      </p:pic>
      <p:sp>
        <p:nvSpPr>
          <p:cNvPr id="7" name="TextBox 7"/>
          <p:cNvSpPr txBox="1">
            <a:spLocks noChangeArrowheads="1"/>
          </p:cNvSpPr>
          <p:nvPr/>
        </p:nvSpPr>
        <p:spPr bwMode="auto">
          <a:xfrm>
            <a:off x="928688" y="6429375"/>
            <a:ext cx="5429250" cy="428625"/>
          </a:xfrm>
          <a:prstGeom prst="rect">
            <a:avLst/>
          </a:prstGeom>
          <a:noFill/>
          <a:ln w="9525">
            <a:noFill/>
            <a:miter lim="800000"/>
            <a:headEnd/>
            <a:tailEnd/>
          </a:ln>
        </p:spPr>
        <p:txBody>
          <a:bodyPr lIns="91402" tIns="45701" rIns="91402" bIns="45701" anchor="ctr"/>
          <a:lstStyle/>
          <a:p>
            <a:pPr defTabSz="912813">
              <a:spcAft>
                <a:spcPts val="600"/>
              </a:spcAft>
              <a:defRPr/>
            </a:pPr>
            <a:r>
              <a:rPr lang="en-US" dirty="0">
                <a:solidFill>
                  <a:srgbClr val="626469"/>
                </a:solidFill>
                <a:cs typeface="Arial" charset="0"/>
              </a:rPr>
              <a:t>Classification: SECRET</a:t>
            </a:r>
          </a:p>
        </p:txBody>
      </p:sp>
      <p:sp>
        <p:nvSpPr>
          <p:cNvPr id="3929091" name="Rectangle 3"/>
          <p:cNvSpPr>
            <a:spLocks noGrp="1" noChangeArrowheads="1"/>
          </p:cNvSpPr>
          <p:nvPr>
            <p:ph type="ctrTitle"/>
          </p:nvPr>
        </p:nvSpPr>
        <p:spPr>
          <a:xfrm>
            <a:off x="685800" y="2130425"/>
            <a:ext cx="7772400" cy="1470025"/>
          </a:xfrm>
        </p:spPr>
        <p:txBody>
          <a:bodyPr/>
          <a:lstStyle>
            <a:lvl1pPr>
              <a:defRPr smtClean="0"/>
            </a:lvl1pPr>
          </a:lstStyle>
          <a:p>
            <a:r>
              <a:rPr lang="en-US" smtClean="0"/>
              <a:t>Click to edit Master title style</a:t>
            </a:r>
          </a:p>
        </p:txBody>
      </p:sp>
      <p:sp>
        <p:nvSpPr>
          <p:cNvPr id="3929092" name="Rectangle 4"/>
          <p:cNvSpPr>
            <a:spLocks noGrp="1" noChangeArrowheads="1"/>
          </p:cNvSpPr>
          <p:nvPr>
            <p:ph type="subTitle" idx="1"/>
          </p:nvPr>
        </p:nvSpPr>
        <p:spPr>
          <a:xfrm>
            <a:off x="1371600" y="3886200"/>
            <a:ext cx="6400800" cy="1752600"/>
          </a:xfrm>
        </p:spPr>
        <p:txBody>
          <a:bodyPr/>
          <a:lstStyle>
            <a:lvl1pPr marL="0" indent="0" algn="ctr">
              <a:buFont typeface="Arial" charset="0"/>
              <a:buNone/>
              <a:defRPr smtClean="0"/>
            </a:lvl1pPr>
          </a:lstStyle>
          <a:p>
            <a:r>
              <a:rPr lang="en-US" smtClean="0"/>
              <a:t>Click to edit Master subtitle style</a:t>
            </a:r>
          </a:p>
        </p:txBody>
      </p:sp>
    </p:spTree>
  </p:cSld>
  <p:clrMapOvr>
    <a:masterClrMapping/>
  </p:clrMapOvr>
  <p:transition>
    <p:wipe dir="r"/>
  </p:transition>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ppt_land_print_2"/>
          <p:cNvPicPr>
            <a:picLocks noChangeAspect="1" noChangeArrowheads="1"/>
          </p:cNvPicPr>
          <p:nvPr/>
        </p:nvPicPr>
        <p:blipFill>
          <a:blip r:embed="rId2" cstate="print"/>
          <a:srcRect/>
          <a:stretch>
            <a:fillRect/>
          </a:stretch>
        </p:blipFill>
        <p:spPr bwMode="auto">
          <a:xfrm>
            <a:off x="0" y="6173788"/>
            <a:ext cx="9144000" cy="688975"/>
          </a:xfrm>
          <a:prstGeom prst="rect">
            <a:avLst/>
          </a:prstGeom>
          <a:noFill/>
          <a:ln w="9525">
            <a:noFill/>
            <a:miter lim="800000"/>
            <a:headEnd/>
            <a:tailEnd/>
          </a:ln>
        </p:spPr>
      </p:pic>
      <p:sp>
        <p:nvSpPr>
          <p:cNvPr id="5" name="Rectangle 6"/>
          <p:cNvSpPr>
            <a:spLocks noChangeArrowheads="1"/>
          </p:cNvSpPr>
          <p:nvPr/>
        </p:nvSpPr>
        <p:spPr bwMode="auto">
          <a:xfrm>
            <a:off x="293688" y="6483350"/>
            <a:ext cx="557212" cy="374650"/>
          </a:xfrm>
          <a:prstGeom prst="rect">
            <a:avLst/>
          </a:prstGeom>
          <a:noFill/>
          <a:ln w="9525">
            <a:noFill/>
            <a:miter lim="800000"/>
            <a:headEnd/>
            <a:tailEnd/>
          </a:ln>
        </p:spPr>
        <p:txBody>
          <a:bodyPr lIns="91402" tIns="45701" rIns="91402" bIns="45701"/>
          <a:lstStyle/>
          <a:p>
            <a:pPr defTabSz="912813" eaLnBrk="0" hangingPunct="0">
              <a:spcAft>
                <a:spcPts val="600"/>
              </a:spcAft>
              <a:tabLst>
                <a:tab pos="441325" algn="l"/>
              </a:tabLst>
              <a:defRPr/>
            </a:pPr>
            <a:fld id="{E36B9612-58A9-4DFD-A2BD-8AB9C195B12D}" type="slidenum">
              <a:rPr lang="en-US" sz="1200">
                <a:solidFill>
                  <a:srgbClr val="626469"/>
                </a:solidFill>
                <a:cs typeface="Arial" charset="0"/>
              </a:rPr>
              <a:pPr defTabSz="912813" eaLnBrk="0" hangingPunct="0">
                <a:spcAft>
                  <a:spcPts val="600"/>
                </a:spcAft>
                <a:tabLst>
                  <a:tab pos="441325" algn="l"/>
                </a:tabLst>
                <a:defRPr/>
              </a:pPr>
              <a:t>‹#›</a:t>
            </a:fld>
            <a:r>
              <a:rPr lang="en-US" sz="1200" dirty="0">
                <a:solidFill>
                  <a:srgbClr val="626469"/>
                </a:solidFill>
                <a:cs typeface="Arial" charset="0"/>
              </a:rPr>
              <a:t>	</a:t>
            </a:r>
          </a:p>
        </p:txBody>
      </p:sp>
      <p:pic>
        <p:nvPicPr>
          <p:cNvPr id="6" name="Picture 8" descr="new logo"/>
          <p:cNvPicPr>
            <a:picLocks noChangeAspect="1" noChangeArrowheads="1"/>
          </p:cNvPicPr>
          <p:nvPr/>
        </p:nvPicPr>
        <p:blipFill>
          <a:blip r:embed="rId3" cstate="print"/>
          <a:srcRect/>
          <a:stretch>
            <a:fillRect/>
          </a:stretch>
        </p:blipFill>
        <p:spPr bwMode="auto">
          <a:xfrm>
            <a:off x="7489825" y="6403975"/>
            <a:ext cx="1174750" cy="350838"/>
          </a:xfrm>
          <a:prstGeom prst="rect">
            <a:avLst/>
          </a:prstGeom>
          <a:noFill/>
          <a:ln w="9525">
            <a:noFill/>
            <a:miter lim="800000"/>
            <a:headEnd/>
            <a:tailEnd/>
          </a:ln>
        </p:spPr>
      </p:pic>
      <p:sp>
        <p:nvSpPr>
          <p:cNvPr id="7" name="TextBox 7"/>
          <p:cNvSpPr txBox="1">
            <a:spLocks noChangeArrowheads="1"/>
          </p:cNvSpPr>
          <p:nvPr/>
        </p:nvSpPr>
        <p:spPr bwMode="auto">
          <a:xfrm>
            <a:off x="928688" y="6429375"/>
            <a:ext cx="5429250" cy="428625"/>
          </a:xfrm>
          <a:prstGeom prst="rect">
            <a:avLst/>
          </a:prstGeom>
          <a:noFill/>
          <a:ln w="9525">
            <a:noFill/>
            <a:miter lim="800000"/>
            <a:headEnd/>
            <a:tailEnd/>
          </a:ln>
        </p:spPr>
        <p:txBody>
          <a:bodyPr lIns="91402" tIns="45701" rIns="91402" bIns="45701" anchor="ctr"/>
          <a:lstStyle/>
          <a:p>
            <a:pPr defTabSz="912813">
              <a:spcAft>
                <a:spcPts val="600"/>
              </a:spcAft>
              <a:defRPr/>
            </a:pPr>
            <a:r>
              <a:rPr lang="en-US" dirty="0">
                <a:solidFill>
                  <a:srgbClr val="626469"/>
                </a:solidFill>
                <a:cs typeface="Arial" charset="0"/>
              </a:rPr>
              <a:t>Classification: SECRET</a:t>
            </a:r>
          </a:p>
        </p:txBody>
      </p:sp>
      <p:sp>
        <p:nvSpPr>
          <p:cNvPr id="3024899" name="Rectangle 3"/>
          <p:cNvSpPr>
            <a:spLocks noGrp="1" noChangeArrowheads="1"/>
          </p:cNvSpPr>
          <p:nvPr>
            <p:ph type="ctrTitle"/>
          </p:nvPr>
        </p:nvSpPr>
        <p:spPr>
          <a:xfrm>
            <a:off x="685800" y="2130425"/>
            <a:ext cx="7772400" cy="1470025"/>
          </a:xfrm>
        </p:spPr>
        <p:txBody>
          <a:bodyPr/>
          <a:lstStyle>
            <a:lvl1pPr>
              <a:defRPr smtClean="0"/>
            </a:lvl1pPr>
          </a:lstStyle>
          <a:p>
            <a:r>
              <a:rPr lang="en-US" smtClean="0"/>
              <a:t>Click to edit Master title style</a:t>
            </a:r>
          </a:p>
        </p:txBody>
      </p:sp>
      <p:sp>
        <p:nvSpPr>
          <p:cNvPr id="3024900" name="Rectangle 4"/>
          <p:cNvSpPr>
            <a:spLocks noGrp="1" noChangeArrowheads="1"/>
          </p:cNvSpPr>
          <p:nvPr>
            <p:ph type="subTitle" idx="1"/>
          </p:nvPr>
        </p:nvSpPr>
        <p:spPr>
          <a:xfrm>
            <a:off x="1371600" y="3886200"/>
            <a:ext cx="6400800" cy="1752600"/>
          </a:xfrm>
        </p:spPr>
        <p:txBody>
          <a:bodyPr/>
          <a:lstStyle>
            <a:lvl1pPr marL="0" indent="0" algn="ctr">
              <a:buFont typeface="Arial" charset="0"/>
              <a:buNone/>
              <a:defRPr smtClean="0"/>
            </a:lvl1pPr>
          </a:lstStyle>
          <a:p>
            <a:r>
              <a:rPr lang="en-US" smtClean="0"/>
              <a:t>Click to edit Master subtitle style</a:t>
            </a:r>
          </a:p>
        </p:txBody>
      </p:sp>
    </p:spTree>
  </p:cSld>
  <p:clrMapOvr>
    <a:masterClrMapping/>
  </p:clrMapOvr>
  <p:transition>
    <p:wipe dir="r"/>
  </p:transition>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5" name="Fußzeilenplatzhalter 5"/>
          <p:cNvSpPr>
            <a:spLocks noGrp="1"/>
          </p:cNvSpPr>
          <p:nvPr>
            <p:ph type="ftr" sz="quarter" idx="10"/>
          </p:nvPr>
        </p:nvSpPr>
        <p:spPr bwMode="auto">
          <a:xfrm>
            <a:off x="4964113" y="5929313"/>
            <a:ext cx="2771775" cy="360362"/>
          </a:xfrm>
          <a:prstGeom prst="rect">
            <a:avLst/>
          </a:prstGeom>
          <a:ln>
            <a:miter lim="800000"/>
            <a:headEnd/>
            <a:tailEnd/>
          </a:ln>
        </p:spPr>
        <p:txBody>
          <a:bodyPr vert="horz" wrap="square" lIns="91402" tIns="0" rIns="0" bIns="0" numCol="1" anchor="t" anchorCtr="0" compatLnSpc="1">
            <a:prstTxWarp prst="textNoShape">
              <a:avLst/>
            </a:prstTxWarp>
          </a:bodyPr>
          <a:lstStyle>
            <a:lvl1pPr algn="r">
              <a:buFontTx/>
              <a:buNone/>
              <a:defRPr sz="1200" b="0">
                <a:solidFill>
                  <a:srgbClr val="475A00"/>
                </a:solidFill>
              </a:defRPr>
            </a:lvl1pPr>
          </a:lstStyle>
          <a:p>
            <a:pPr>
              <a:defRPr/>
            </a:pPr>
            <a:r>
              <a:rPr lang="en-US" dirty="0">
                <a:cs typeface="Arial" charset="0"/>
              </a:rPr>
              <a:t>Classification: </a:t>
            </a:r>
            <a:r>
              <a:rPr lang="en-US" dirty="0" smtClean="0">
                <a:cs typeface="Arial" charset="0"/>
              </a:rPr>
              <a:t>PUBLIC USE</a:t>
            </a:r>
            <a:endParaRPr lang="en-US" dirty="0">
              <a:cs typeface="Arial" charset="0"/>
            </a:endParaRPr>
          </a:p>
        </p:txBody>
      </p:sp>
    </p:spTree>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a:t>Click to edit Master title style</a:t>
            </a:r>
          </a:p>
        </p:txBody>
      </p:sp>
      <p:sp>
        <p:nvSpPr>
          <p:cNvPr id="3" name="Content Placeholder 2"/>
          <p:cNvSpPr>
            <a:spLocks noGrp="1"/>
          </p:cNvSpPr>
          <p:nvPr>
            <p:ph idx="1"/>
          </p:nvPr>
        </p:nvSpPr>
        <p:spPr>
          <a:xfrm>
            <a:off x="373063" y="1211263"/>
            <a:ext cx="8459787" cy="4730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3063" y="88900"/>
            <a:ext cx="8453437" cy="812800"/>
          </a:xfrm>
        </p:spPr>
        <p:txBody>
          <a:bodyPr/>
          <a:lstStyle/>
          <a:p>
            <a:r>
              <a:rPr lang="en-US"/>
              <a:t>Click to edit Master title style</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endParaRPr lang="en-GB">
              <a:solidFill>
                <a:srgbClr val="5F7800">
                  <a:lumMod val="75000"/>
                </a:srgbClr>
              </a:solidFill>
            </a:endParaRPr>
          </a:p>
        </p:txBody>
      </p:sp>
    </p:spTree>
    <p:extLst>
      <p:ext uri="{BB962C8B-B14F-4D97-AF65-F5344CB8AC3E}">
        <p14:creationId xmlns:p14="http://schemas.microsoft.com/office/powerpoint/2010/main" val="3535458165"/>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endParaRPr lang="en-GB">
              <a:solidFill>
                <a:srgbClr val="626469"/>
              </a:solidFill>
            </a:endParaRPr>
          </a:p>
        </p:txBody>
      </p:sp>
    </p:spTree>
    <p:extLst>
      <p:ext uri="{BB962C8B-B14F-4D97-AF65-F5344CB8AC3E}">
        <p14:creationId xmlns:p14="http://schemas.microsoft.com/office/powerpoint/2010/main" val="2589154456"/>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endParaRPr lang="en-GB">
              <a:solidFill>
                <a:srgbClr val="626469"/>
              </a:solidFill>
            </a:endParaRPr>
          </a:p>
        </p:txBody>
      </p:sp>
    </p:spTree>
    <p:extLst>
      <p:ext uri="{BB962C8B-B14F-4D97-AF65-F5344CB8AC3E}">
        <p14:creationId xmlns:p14="http://schemas.microsoft.com/office/powerpoint/2010/main" val="1841103305"/>
      </p:ext>
    </p:extLst>
  </p:cSld>
  <p:clrMapOvr>
    <a:masterClrMapping/>
  </p:clrMapOvr>
  <p:transition>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endParaRPr lang="en-GB">
              <a:solidFill>
                <a:srgbClr val="626469"/>
              </a:solidFill>
            </a:endParaRPr>
          </a:p>
        </p:txBody>
      </p:sp>
    </p:spTree>
    <p:extLst>
      <p:ext uri="{BB962C8B-B14F-4D97-AF65-F5344CB8AC3E}">
        <p14:creationId xmlns:p14="http://schemas.microsoft.com/office/powerpoint/2010/main" val="1288990808"/>
      </p:ext>
    </p:extLst>
  </p:cSld>
  <p:clrMapOvr>
    <a:masterClrMapping/>
  </p:clrMapOvr>
  <p:transition>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endParaRPr lang="en-GB">
              <a:solidFill>
                <a:srgbClr val="626469"/>
              </a:solidFill>
            </a:endParaRPr>
          </a:p>
        </p:txBody>
      </p:sp>
    </p:spTree>
    <p:extLst>
      <p:ext uri="{BB962C8B-B14F-4D97-AF65-F5344CB8AC3E}">
        <p14:creationId xmlns:p14="http://schemas.microsoft.com/office/powerpoint/2010/main" val="2455648686"/>
      </p:ext>
    </p:extLst>
  </p:cSld>
  <p:clrMapOvr>
    <a:masterClrMapping/>
  </p:clrMapOvr>
  <p:transition>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endParaRPr lang="en-GB">
              <a:solidFill>
                <a:srgbClr val="626469"/>
              </a:solidFill>
            </a:endParaRPr>
          </a:p>
        </p:txBody>
      </p:sp>
    </p:spTree>
    <p:extLst>
      <p:ext uri="{BB962C8B-B14F-4D97-AF65-F5344CB8AC3E}">
        <p14:creationId xmlns:p14="http://schemas.microsoft.com/office/powerpoint/2010/main" val="3577947438"/>
      </p:ext>
    </p:extLst>
  </p:cSld>
  <p:clrMapOvr>
    <a:masterClrMapping/>
  </p:clrMapOvr>
  <p:transition>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endParaRPr lang="en-GB">
              <a:solidFill>
                <a:srgbClr val="626469"/>
              </a:solidFill>
            </a:endParaRPr>
          </a:p>
        </p:txBody>
      </p:sp>
    </p:spTree>
    <p:extLst>
      <p:ext uri="{BB962C8B-B14F-4D97-AF65-F5344CB8AC3E}">
        <p14:creationId xmlns:p14="http://schemas.microsoft.com/office/powerpoint/2010/main" val="1586131321"/>
      </p:ext>
    </p:extLst>
  </p:cSld>
  <p:clrMapOvr>
    <a:masterClrMapping/>
  </p:clrMapOvr>
  <p:transition>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endParaRPr lang="en-GB">
              <a:solidFill>
                <a:srgbClr val="626469"/>
              </a:solidFill>
            </a:endParaRPr>
          </a:p>
        </p:txBody>
      </p:sp>
    </p:spTree>
    <p:extLst>
      <p:ext uri="{BB962C8B-B14F-4D97-AF65-F5344CB8AC3E}">
        <p14:creationId xmlns:p14="http://schemas.microsoft.com/office/powerpoint/2010/main" val="2443359789"/>
      </p:ext>
    </p:extLst>
  </p:cSld>
  <p:clrMapOvr>
    <a:masterClrMapping/>
  </p:clrMapOvr>
  <p:transition>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endParaRPr lang="en-GB">
              <a:solidFill>
                <a:srgbClr val="626469"/>
              </a:solidFill>
            </a:endParaRPr>
          </a:p>
        </p:txBody>
      </p:sp>
    </p:spTree>
    <p:extLst>
      <p:ext uri="{BB962C8B-B14F-4D97-AF65-F5344CB8AC3E}">
        <p14:creationId xmlns:p14="http://schemas.microsoft.com/office/powerpoint/2010/main" val="3172161819"/>
      </p:ext>
    </p:extLst>
  </p:cSld>
  <p:clrMapOvr>
    <a:masterClrMapping/>
  </p:clrMapOvr>
  <p:transition>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endParaRPr lang="en-GB">
              <a:solidFill>
                <a:srgbClr val="626469"/>
              </a:solidFill>
            </a:endParaRPr>
          </a:p>
        </p:txBody>
      </p:sp>
    </p:spTree>
    <p:extLst>
      <p:ext uri="{BB962C8B-B14F-4D97-AF65-F5344CB8AC3E}">
        <p14:creationId xmlns:p14="http://schemas.microsoft.com/office/powerpoint/2010/main" val="2572975730"/>
      </p:ext>
    </p:extLst>
  </p:cSld>
  <p:clrMapOvr>
    <a:masterClrMapping/>
  </p:clrMapOvr>
  <p:transition>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endParaRPr lang="en-GB">
              <a:solidFill>
                <a:srgbClr val="626469"/>
              </a:solidFill>
            </a:endParaRPr>
          </a:p>
        </p:txBody>
      </p:sp>
    </p:spTree>
    <p:extLst>
      <p:ext uri="{BB962C8B-B14F-4D97-AF65-F5344CB8AC3E}">
        <p14:creationId xmlns:p14="http://schemas.microsoft.com/office/powerpoint/2010/main" val="2327581548"/>
      </p:ext>
    </p:extLst>
  </p:cSld>
  <p:clrMapOvr>
    <a:masterClrMapping/>
  </p:clrMapOvr>
  <p:transition>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0" y="5927725"/>
            <a:ext cx="7199313"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Tree>
    <p:extLst>
      <p:ext uri="{BB962C8B-B14F-4D97-AF65-F5344CB8AC3E}">
        <p14:creationId xmlns:p14="http://schemas.microsoft.com/office/powerpoint/2010/main" val="3471465944"/>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600"/>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Confidential</a:t>
            </a:r>
            <a:endParaRPr lang="en-US" dirty="0">
              <a:solidFill>
                <a:srgbClr val="626469"/>
              </a:solidFill>
            </a:endParaRPr>
          </a:p>
        </p:txBody>
      </p:sp>
    </p:spTree>
    <p:extLst>
      <p:ext uri="{BB962C8B-B14F-4D97-AF65-F5344CB8AC3E}">
        <p14:creationId xmlns:p14="http://schemas.microsoft.com/office/powerpoint/2010/main" val="1593702224"/>
      </p:ext>
    </p:extLst>
  </p:cSld>
  <p:clrMapOvr>
    <a:masterClrMapping/>
  </p:clrMapOvr>
  <p:transition>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Confidential</a:t>
            </a:r>
          </a:p>
          <a:p>
            <a:pPr>
              <a:defRPr/>
            </a:pPr>
            <a:endParaRPr lang="en-US" dirty="0">
              <a:solidFill>
                <a:srgbClr val="626469"/>
              </a:solidFill>
            </a:endParaRPr>
          </a:p>
        </p:txBody>
      </p:sp>
    </p:spTree>
    <p:extLst>
      <p:ext uri="{BB962C8B-B14F-4D97-AF65-F5344CB8AC3E}">
        <p14:creationId xmlns:p14="http://schemas.microsoft.com/office/powerpoint/2010/main" val="1383060794"/>
      </p:ext>
    </p:extLst>
  </p:cSld>
  <p:clrMapOvr>
    <a:masterClrMapping/>
  </p:clrMapOvr>
  <p:transition>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Confidential</a:t>
            </a:r>
          </a:p>
          <a:p>
            <a:pPr>
              <a:defRPr/>
            </a:pPr>
            <a:endParaRPr lang="en-US" dirty="0">
              <a:solidFill>
                <a:srgbClr val="626469"/>
              </a:solidFill>
            </a:endParaRPr>
          </a:p>
        </p:txBody>
      </p:sp>
    </p:spTree>
    <p:extLst>
      <p:ext uri="{BB962C8B-B14F-4D97-AF65-F5344CB8AC3E}">
        <p14:creationId xmlns:p14="http://schemas.microsoft.com/office/powerpoint/2010/main" val="1517245322"/>
      </p:ext>
    </p:extLst>
  </p:cSld>
  <p:clrMapOvr>
    <a:masterClrMapping/>
  </p:clrMapOvr>
  <p:transition>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Confidential</a:t>
            </a:r>
          </a:p>
          <a:p>
            <a:pPr>
              <a:defRPr/>
            </a:pPr>
            <a:endParaRPr lang="en-US" dirty="0">
              <a:solidFill>
                <a:srgbClr val="626469"/>
              </a:solidFill>
            </a:endParaRPr>
          </a:p>
        </p:txBody>
      </p:sp>
    </p:spTree>
    <p:extLst>
      <p:ext uri="{BB962C8B-B14F-4D97-AF65-F5344CB8AC3E}">
        <p14:creationId xmlns:p14="http://schemas.microsoft.com/office/powerpoint/2010/main" val="1707590821"/>
      </p:ext>
    </p:extLst>
  </p:cSld>
  <p:clrMapOvr>
    <a:masterClrMapping/>
  </p:clrMapOvr>
  <p:transition>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Confidential</a:t>
            </a:r>
          </a:p>
        </p:txBody>
      </p:sp>
    </p:spTree>
    <p:extLst>
      <p:ext uri="{BB962C8B-B14F-4D97-AF65-F5344CB8AC3E}">
        <p14:creationId xmlns:p14="http://schemas.microsoft.com/office/powerpoint/2010/main" val="4289765059"/>
      </p:ext>
    </p:extLst>
  </p:cSld>
  <p:clrMapOvr>
    <a:masterClrMapping/>
  </p:clrMapOvr>
  <p:transition>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Confidential</a:t>
            </a:r>
          </a:p>
        </p:txBody>
      </p:sp>
    </p:spTree>
    <p:extLst>
      <p:ext uri="{BB962C8B-B14F-4D97-AF65-F5344CB8AC3E}">
        <p14:creationId xmlns:p14="http://schemas.microsoft.com/office/powerpoint/2010/main" val="804010541"/>
      </p:ext>
    </p:extLst>
  </p:cSld>
  <p:clrMapOvr>
    <a:masterClrMapping/>
  </p:clrMapOvr>
  <p:transition>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2954793194"/>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1723063117"/>
      </p:ext>
    </p:extLst>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418325366"/>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2169067702"/>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25"/>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dirty="0" smtClean="0">
                <a:solidFill>
                  <a:srgbClr val="5F7800">
                    <a:lumMod val="75000"/>
                  </a:srgbClr>
                </a:solidFill>
              </a:rPr>
              <a:t>Classification: SECRET</a:t>
            </a:r>
            <a:endParaRPr lang="en-US" dirty="0">
              <a:solidFill>
                <a:srgbClr val="5F7800">
                  <a:lumMod val="75000"/>
                </a:srgbClr>
              </a:solidFill>
            </a:endParaRPr>
          </a:p>
        </p:txBody>
      </p:sp>
    </p:spTree>
    <p:extLst>
      <p:ext uri="{BB962C8B-B14F-4D97-AF65-F5344CB8AC3E}">
        <p14:creationId xmlns:p14="http://schemas.microsoft.com/office/powerpoint/2010/main" val="1135677195"/>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58"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57183"/>
            <a:ext cx="5753100" cy="376238"/>
          </a:xfrm>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3157670098"/>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2183388106"/>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965927980"/>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600"/>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3226427896"/>
      </p:ext>
    </p:extLst>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3380116253"/>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281475340"/>
      </p:ext>
    </p:extLst>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2609840952"/>
      </p:ext>
    </p:extLst>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3195525685"/>
      </p:ext>
    </p:extLst>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1507435139"/>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SECRET</a:t>
            </a:r>
            <a:endParaRPr lang="en-US" dirty="0">
              <a:solidFill>
                <a:srgbClr val="626469"/>
              </a:solidFill>
            </a:endParaRPr>
          </a:p>
        </p:txBody>
      </p:sp>
    </p:spTree>
    <p:extLst>
      <p:ext uri="{BB962C8B-B14F-4D97-AF65-F5344CB8AC3E}">
        <p14:creationId xmlns:p14="http://schemas.microsoft.com/office/powerpoint/2010/main" val="1260431245"/>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1" y="5927749"/>
            <a:ext cx="4212000"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400" y="4035433"/>
            <a:ext cx="7197725" cy="422275"/>
          </a:xfrm>
        </p:spPr>
        <p:txBody>
          <a:bodyPr anchor="t"/>
          <a:lstStyle>
            <a:lvl1pPr>
              <a:defRPr sz="2800"/>
            </a:lvl1pPr>
          </a:lstStyle>
          <a:p>
            <a:r>
              <a:rPr lang="en-US" smtClean="0"/>
              <a:t>Click to edit Master title style</a:t>
            </a:r>
            <a:endParaRPr lang="en-US" dirty="0"/>
          </a:p>
        </p:txBody>
      </p:sp>
      <p:sp>
        <p:nvSpPr>
          <p:cNvPr id="6" name="Fußzeilenplatzhalter 5"/>
          <p:cNvSpPr>
            <a:spLocks noGrp="1"/>
          </p:cNvSpPr>
          <p:nvPr>
            <p:ph type="ftr" sz="quarter" idx="10"/>
          </p:nvPr>
        </p:nvSpPr>
        <p:spPr>
          <a:xfrm>
            <a:off x="4964400" y="5929200"/>
            <a:ext cx="2772000" cy="360000"/>
          </a:xfrm>
        </p:spPr>
        <p:txBody>
          <a:bodyPr tIns="0" rIns="0" bIns="0" anchor="t">
            <a:normAutofit/>
          </a:bodyPr>
          <a:lstStyle>
            <a:lvl1pPr algn="r">
              <a:defRPr sz="1200">
                <a:solidFill>
                  <a:schemeClr val="accent6">
                    <a:lumMod val="75000"/>
                  </a:schemeClr>
                </a:solidFill>
              </a:defRPr>
            </a:lvl1pPr>
          </a:lstStyle>
          <a:p>
            <a:pPr>
              <a:defRPr/>
            </a:pPr>
            <a:r>
              <a:rPr lang="en-US" dirty="0" smtClean="0">
                <a:solidFill>
                  <a:srgbClr val="5F7800">
                    <a:lumMod val="75000"/>
                  </a:srgbClr>
                </a:solidFill>
              </a:rPr>
              <a:t>Classification: PUBLIC USE</a:t>
            </a:r>
            <a:endParaRPr lang="en-US" dirty="0">
              <a:solidFill>
                <a:srgbClr val="5F7800">
                  <a:lumMod val="75000"/>
                </a:srgbClr>
              </a:solidFill>
            </a:endParaRPr>
          </a:p>
        </p:txBody>
      </p:sp>
    </p:spTree>
    <p:extLst>
      <p:ext uri="{BB962C8B-B14F-4D97-AF65-F5344CB8AC3E}">
        <p14:creationId xmlns:p14="http://schemas.microsoft.com/office/powerpoint/2010/main" val="3881715655"/>
      </p:ext>
    </p:extLst>
  </p:cSld>
  <p:clrMapOvr>
    <a:masterClrMapping/>
  </p:clrMapOvr>
  <p:transition>
    <p:wipe dir="r"/>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a:xfrm>
            <a:off x="357170" y="1214422"/>
            <a:ext cx="8459787" cy="4730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8" y="6457183"/>
            <a:ext cx="5753100" cy="376238"/>
          </a:xfrm>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1458798089"/>
      </p:ext>
    </p:extLst>
  </p:cSld>
  <p:clrMapOvr>
    <a:masterClrMapping/>
  </p:clrMapOvr>
  <p:transition>
    <p:wipe dir="r"/>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4"/>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3596236137"/>
      </p:ext>
    </p:extLst>
  </p:cSld>
  <p:clrMapOvr>
    <a:masterClrMapping/>
  </p:clrMapOvr>
  <p:transition>
    <p:wipe dir="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8"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3003888881"/>
      </p:ext>
    </p:extLst>
  </p:cSld>
  <p:clrMapOvr>
    <a:masterClrMapping/>
  </p:clrMapOvr>
  <p:transition>
    <p:wipe dir="r"/>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9"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nchor="ctr" anchorCtr="0">
            <a:normAutofit/>
          </a:bodyPr>
          <a:lstStyle>
            <a:lvl1pPr>
              <a:defRPr sz="800"/>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2869849736"/>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3217126777"/>
      </p:ext>
    </p:extLst>
  </p:cSld>
  <p:clrMapOvr>
    <a:masterClrMapping/>
  </p:clrMapOvr>
  <p:transition>
    <p:wipe dir="r"/>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3344613385"/>
      </p:ext>
    </p:extLst>
  </p:cSld>
  <p:clrMapOvr>
    <a:masterClrMapping/>
  </p:clrMapOvr>
  <p:transition>
    <p:wipe dir="r"/>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1" y="273052"/>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492012731"/>
      </p:ext>
    </p:extLst>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3959639705"/>
      </p:ext>
    </p:extLst>
  </p:cSld>
  <p:clrMapOvr>
    <a:masterClrMapping/>
  </p:clrMapOvr>
  <p:transition>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3577908450"/>
      </p:ext>
    </p:extLst>
  </p:cSld>
  <p:clrMapOvr>
    <a:masterClrMapping/>
  </p:clrMapOvr>
  <p:transition>
    <p:wipe dir="r"/>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2"/>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9" y="88902"/>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smtClean="0">
                <a:solidFill>
                  <a:srgbClr val="626469"/>
                </a:solidFill>
              </a:rPr>
              <a:t>Classification: PUBLIC USE</a:t>
            </a:r>
            <a:endParaRPr lang="en-US" dirty="0">
              <a:solidFill>
                <a:srgbClr val="626469"/>
              </a:solidFill>
            </a:endParaRPr>
          </a:p>
        </p:txBody>
      </p:sp>
    </p:spTree>
    <p:extLst>
      <p:ext uri="{BB962C8B-B14F-4D97-AF65-F5344CB8AC3E}">
        <p14:creationId xmlns:p14="http://schemas.microsoft.com/office/powerpoint/2010/main" val="615526327"/>
      </p:ext>
    </p:extLst>
  </p:cSld>
  <p:clrMapOvr>
    <a:masterClrMapping/>
  </p:clrMapOvr>
  <p:transition>
    <p:wipe dir="r"/>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88900"/>
            <a:ext cx="8455025" cy="812800"/>
          </a:xfrm>
        </p:spPr>
        <p:txBody>
          <a:bodyPr/>
          <a:lstStyle/>
          <a:p>
            <a:r>
              <a:rPr lang="en-US" smtClean="0"/>
              <a:t>Click to edit Master title style</a:t>
            </a:r>
            <a:endParaRPr lang="de-CH"/>
          </a:p>
        </p:txBody>
      </p:sp>
      <p:sp>
        <p:nvSpPr>
          <p:cNvPr id="3" name="Text Placeholder 2"/>
          <p:cNvSpPr>
            <a:spLocks noGrp="1"/>
          </p:cNvSpPr>
          <p:nvPr>
            <p:ph type="body" sz="half" idx="1"/>
          </p:nvPr>
        </p:nvSpPr>
        <p:spPr>
          <a:xfrm>
            <a:off x="371478" y="1211263"/>
            <a:ext cx="4164013"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Content Placeholder 3"/>
          <p:cNvSpPr>
            <a:spLocks noGrp="1"/>
          </p:cNvSpPr>
          <p:nvPr>
            <p:ph sz="half" idx="2"/>
          </p:nvPr>
        </p:nvSpPr>
        <p:spPr>
          <a:xfrm>
            <a:off x="4687888" y="1211263"/>
            <a:ext cx="4164012" cy="4779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Rectangle 5"/>
          <p:cNvSpPr>
            <a:spLocks noGrp="1" noChangeArrowheads="1"/>
          </p:cNvSpPr>
          <p:nvPr>
            <p:ph type="ftr" sz="quarter" idx="10"/>
          </p:nvPr>
        </p:nvSpPr>
        <p:spPr/>
        <p:txBody>
          <a:bodyPr/>
          <a:lstStyle>
            <a:lvl1pPr>
              <a:defRPr/>
            </a:lvl1pPr>
          </a:lstStyle>
          <a:p>
            <a:pPr>
              <a:defRPr/>
            </a:pPr>
            <a:r>
              <a:rPr lang="en-GB" dirty="0">
                <a:solidFill>
                  <a:srgbClr val="626469"/>
                </a:solidFill>
              </a:rPr>
              <a:t>GPC Acceleration / Regional kick offs  Jan/Feb 2012                       - </a:t>
            </a:r>
            <a:r>
              <a:rPr lang="en-GB" dirty="0" smtClean="0">
                <a:solidFill>
                  <a:srgbClr val="626469"/>
                </a:solidFill>
              </a:rPr>
              <a:t>PUBLIC USE </a:t>
            </a:r>
            <a:r>
              <a:rPr lang="en-GB" dirty="0">
                <a:solidFill>
                  <a:srgbClr val="626469"/>
                </a:solidFill>
              </a:rPr>
              <a:t>-</a:t>
            </a:r>
            <a:endParaRPr lang="en-US" dirty="0">
              <a:solidFill>
                <a:srgbClr val="626469"/>
              </a:solidFill>
            </a:endParaRPr>
          </a:p>
        </p:txBody>
      </p:sp>
    </p:spTree>
    <p:extLst>
      <p:ext uri="{BB962C8B-B14F-4D97-AF65-F5344CB8AC3E}">
        <p14:creationId xmlns:p14="http://schemas.microsoft.com/office/powerpoint/2010/main" val="2026571570"/>
      </p:ext>
    </p:extLst>
  </p:cSld>
  <p:clrMapOvr>
    <a:masterClrMapping/>
  </p:clrMapOvr>
  <p:transition>
    <p:wipe dir="r"/>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2" cstate="print"/>
          <a:srcRect/>
          <a:stretch>
            <a:fillRect/>
          </a:stretch>
        </p:blipFill>
        <p:spPr bwMode="auto">
          <a:xfrm>
            <a:off x="-1588" y="0"/>
            <a:ext cx="9150351" cy="6858000"/>
          </a:xfrm>
          <a:prstGeom prst="rect">
            <a:avLst/>
          </a:prstGeom>
          <a:noFill/>
          <a:ln w="9525">
            <a:noFill/>
            <a:miter lim="800000"/>
            <a:headEnd/>
            <a:tailEnd/>
          </a:ln>
        </p:spPr>
      </p:pic>
      <p:sp>
        <p:nvSpPr>
          <p:cNvPr id="8195" name="Rectangle 3"/>
          <p:cNvSpPr>
            <a:spLocks noGrp="1" noChangeArrowheads="1"/>
          </p:cNvSpPr>
          <p:nvPr>
            <p:ph type="subTitle" sz="quarter" idx="1"/>
          </p:nvPr>
        </p:nvSpPr>
        <p:spPr>
          <a:xfrm>
            <a:off x="685800" y="5927725"/>
            <a:ext cx="7199313"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Tree>
    <p:extLst>
      <p:ext uri="{BB962C8B-B14F-4D97-AF65-F5344CB8AC3E}">
        <p14:creationId xmlns:p14="http://schemas.microsoft.com/office/powerpoint/2010/main" val="228918790"/>
      </p:ext>
    </p:extLst>
  </p:cSld>
  <p:clrMapOvr>
    <a:masterClrMapping/>
  </p:clrMapOvr>
  <p:transition>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549664938"/>
      </p:ext>
    </p:extLst>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1968103897"/>
      </p:ext>
    </p:extLst>
  </p:cSld>
  <p:clrMapOvr>
    <a:masterClrMapping/>
  </p:clrMapOvr>
  <p:transitio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439206793"/>
      </p:ext>
    </p:extLst>
  </p:cSld>
  <p:clrMapOvr>
    <a:masterClrMapping/>
  </p:clrMapOvr>
  <p:transition>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860953753"/>
      </p:ext>
    </p:extLst>
  </p:cSld>
  <p:clrMapOvr>
    <a:masterClrMapping/>
  </p:clrMapOvr>
  <p:transition>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906010562"/>
      </p:ext>
    </p:extLst>
  </p:cSld>
  <p:clrMapOvr>
    <a:masterClrMapping/>
  </p:clrMapOvr>
  <p:transition>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174704290"/>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smtClean="0"/>
              <a:t>Classification: SECRET</a:t>
            </a:r>
            <a:endParaRPr lang="en-US" dirty="0"/>
          </a:p>
        </p:txBody>
      </p:sp>
    </p:spTree>
  </p:cSld>
  <p:clrMapOvr>
    <a:masterClrMapping/>
  </p:clrMapOvr>
  <p:transition>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200" b="1"/>
            </a:lvl1pPr>
          </a:lstStyle>
          <a:p>
            <a:r>
              <a:rPr lang="en-US" smtClean="0"/>
              <a:t>Click to edit Master title style</a:t>
            </a:r>
            <a:endParaRPr lang="de-CH" dirty="0"/>
          </a:p>
        </p:txBody>
      </p:sp>
      <p:sp>
        <p:nvSpPr>
          <p:cNvPr id="3" name="Content Placeholder 2"/>
          <p:cNvSpPr>
            <a:spLocks noGrp="1"/>
          </p:cNvSpPr>
          <p:nvPr>
            <p:ph idx="1"/>
          </p:nvPr>
        </p:nvSpPr>
        <p:spPr>
          <a:xfrm>
            <a:off x="3575050" y="273050"/>
            <a:ext cx="5111750" cy="5853113"/>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809404233"/>
      </p:ext>
    </p:extLst>
  </p:cSld>
  <p:clrMapOvr>
    <a:masterClrMapping/>
  </p:clrMapOvr>
  <p:transition>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200" b="1"/>
            </a:lvl1pPr>
          </a:lstStyle>
          <a:p>
            <a:r>
              <a:rPr lang="en-US" smtClean="0"/>
              <a:t>Click to edit Master title style</a:t>
            </a:r>
            <a:endParaRPr lang="de-CH" dirty="0"/>
          </a:p>
        </p:txBody>
      </p:sp>
      <p:sp>
        <p:nvSpPr>
          <p:cNvPr id="3" name="Picture Placeholder 2"/>
          <p:cNvSpPr>
            <a:spLocks noGrp="1"/>
          </p:cNvSpPr>
          <p:nvPr>
            <p:ph type="pic" idx="1"/>
          </p:nvPr>
        </p:nvSpPr>
        <p:spPr>
          <a:xfrm>
            <a:off x="1792288" y="612775"/>
            <a:ext cx="5486400" cy="4114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de-CH"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885718588"/>
      </p:ext>
    </p:extLst>
  </p:cSld>
  <p:clrMapOvr>
    <a:masterClrMapping/>
  </p:clrMapOvr>
  <p:transition>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2504216053"/>
      </p:ext>
    </p:extLst>
  </p:cSld>
  <p:clrMapOvr>
    <a:masterClrMapping/>
  </p:clrMapOvr>
  <p:transitio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8300" y="88900"/>
            <a:ext cx="2114550" cy="5853113"/>
          </a:xfrm>
        </p:spPr>
        <p:txBody>
          <a:bodyPr vert="eaVert"/>
          <a:lstStyle/>
          <a:p>
            <a:r>
              <a:rPr lang="en-US" smtClean="0"/>
              <a:t>Click to edit Master title style</a:t>
            </a:r>
            <a:endParaRPr lang="de-CH" dirty="0"/>
          </a:p>
        </p:txBody>
      </p:sp>
      <p:sp>
        <p:nvSpPr>
          <p:cNvPr id="3" name="Vertical Text Placeholder 2"/>
          <p:cNvSpPr>
            <a:spLocks noGrp="1"/>
          </p:cNvSpPr>
          <p:nvPr>
            <p:ph type="body" orient="vert" idx="1"/>
          </p:nvPr>
        </p:nvSpPr>
        <p:spPr>
          <a:xfrm>
            <a:off x="373063" y="88900"/>
            <a:ext cx="6192837" cy="585311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ln/>
        </p:spPr>
        <p:txBody>
          <a:bodyPr/>
          <a:lstStyle>
            <a:lvl1pPr>
              <a:defRPr/>
            </a:lvl1pPr>
          </a:lstStyle>
          <a:p>
            <a:pPr>
              <a:defRPr/>
            </a:pPr>
            <a:endParaRPr lang="en-US">
              <a:solidFill>
                <a:srgbClr val="626469"/>
              </a:solidFill>
            </a:endParaRPr>
          </a:p>
        </p:txBody>
      </p:sp>
    </p:spTree>
    <p:extLst>
      <p:ext uri="{BB962C8B-B14F-4D97-AF65-F5344CB8AC3E}">
        <p14:creationId xmlns:p14="http://schemas.microsoft.com/office/powerpoint/2010/main" val="1078534915"/>
      </p:ext>
    </p:extLst>
  </p:cSld>
  <p:clrMapOvr>
    <a:masterClrMapping/>
  </p:clrMapOvr>
  <p:transition>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powerpoint_land_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8" y="0"/>
            <a:ext cx="915035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3"/>
          <p:cNvSpPr>
            <a:spLocks noGrp="1" noChangeArrowheads="1"/>
          </p:cNvSpPr>
          <p:nvPr>
            <p:ph type="subTitle" sz="quarter" idx="1"/>
          </p:nvPr>
        </p:nvSpPr>
        <p:spPr>
          <a:xfrm>
            <a:off x="685800" y="5927725"/>
            <a:ext cx="7199313" cy="360363"/>
          </a:xfrm>
        </p:spPr>
        <p:txBody>
          <a:bodyPr wrap="none"/>
          <a:lstStyle>
            <a:lvl1pPr marL="0" indent="0">
              <a:buFont typeface="Arial" charset="0"/>
              <a:buNone/>
              <a:defRPr sz="1200">
                <a:solidFill>
                  <a:schemeClr val="tx2"/>
                </a:solidFill>
              </a:defRPr>
            </a:lvl1pPr>
          </a:lstStyle>
          <a:p>
            <a:r>
              <a:rPr lang="en-US" noProof="0" smtClean="0"/>
              <a:t>Click to edit Master subtitle style</a:t>
            </a:r>
            <a:endParaRPr lang="en-US" noProof="0" dirty="0"/>
          </a:p>
        </p:txBody>
      </p:sp>
      <p:sp>
        <p:nvSpPr>
          <p:cNvPr id="8196" name="Rectangle 4"/>
          <p:cNvSpPr>
            <a:spLocks noGrp="1" noChangeArrowheads="1"/>
          </p:cNvSpPr>
          <p:nvPr>
            <p:ph type="ctrTitle" sz="quarter"/>
          </p:nvPr>
        </p:nvSpPr>
        <p:spPr>
          <a:xfrm>
            <a:off x="687388" y="4035425"/>
            <a:ext cx="7197725" cy="422275"/>
          </a:xfrm>
        </p:spPr>
        <p:txBody>
          <a:bodyPr anchor="t"/>
          <a:lstStyle>
            <a:lvl1pPr>
              <a:defRPr sz="2800"/>
            </a:lvl1pPr>
          </a:lstStyle>
          <a:p>
            <a:r>
              <a:rPr lang="en-US" smtClean="0"/>
              <a:t>Click to edit Master title style</a:t>
            </a:r>
            <a:endParaRPr lang="en-US" dirty="0"/>
          </a:p>
        </p:txBody>
      </p:sp>
      <p:sp>
        <p:nvSpPr>
          <p:cNvPr id="5" name="TextBox 4"/>
          <p:cNvSpPr txBox="1"/>
          <p:nvPr userDrawn="1">
            <p:custDataLst>
              <p:tags r:id="rId1"/>
            </p:custDataLst>
          </p:nvPr>
        </p:nvSpPr>
        <p:spPr>
          <a:xfrm>
            <a:off x="2228850" y="6310312"/>
            <a:ext cx="4010025" cy="390525"/>
          </a:xfrm>
          <a:prstGeom prst="rect">
            <a:avLst/>
          </a:prstGeom>
          <a:noFill/>
        </p:spPr>
        <p:txBody>
          <a:bodyPr wrap="none" rtlCol="0">
            <a:normAutofit/>
          </a:bodyPr>
          <a:lstStyle/>
          <a:p>
            <a:pPr algn="ctr">
              <a:spcBef>
                <a:spcPts val="0"/>
              </a:spcBef>
              <a:spcAft>
                <a:spcPts val="600"/>
              </a:spcAft>
            </a:pPr>
            <a:r>
              <a:rPr lang="de-CH" sz="1200" dirty="0" smtClean="0">
                <a:solidFill>
                  <a:srgbClr val="626469"/>
                </a:solidFill>
                <a:cs typeface="Arial" charset="0"/>
              </a:rPr>
              <a:t>Classification: CONFIDENTIAL</a:t>
            </a:r>
          </a:p>
        </p:txBody>
      </p:sp>
    </p:spTree>
    <p:extLst>
      <p:ext uri="{BB962C8B-B14F-4D97-AF65-F5344CB8AC3E}">
        <p14:creationId xmlns:p14="http://schemas.microsoft.com/office/powerpoint/2010/main" val="315712016"/>
      </p:ext>
    </p:extLst>
  </p:cSld>
  <p:clrMapOvr>
    <a:masterClrMapping/>
  </p:clrMapOvr>
  <p:transition>
    <p:wipe dir="r"/>
  </p:transition>
  <p:hf sldNum="0" hdr="0" dt="0"/>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Rectangle 5"/>
          <p:cNvSpPr>
            <a:spLocks noGrp="1" noChangeArrowheads="1"/>
          </p:cNvSpPr>
          <p:nvPr>
            <p:ph type="ftr" sz="quarter" idx="10"/>
          </p:nvPr>
        </p:nvSpPr>
        <p:spPr>
          <a:xfrm>
            <a:off x="792163" y="6492875"/>
            <a:ext cx="5753100" cy="376238"/>
          </a:xfrm>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2947677626"/>
      </p:ext>
    </p:extLst>
  </p:cSld>
  <p:clrMapOvr>
    <a:masterClrMapping/>
  </p:clrMapOvr>
  <p:transition>
    <p:wipe dir="r"/>
  </p:transition>
  <p:hf sldNum="0" hdr="0" dt="0"/>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200" b="1" cap="none" baseline="0"/>
            </a:lvl1pPr>
          </a:lstStyle>
          <a:p>
            <a:r>
              <a:rPr lang="en-US" smtClean="0"/>
              <a:t>Click to edit Master title style</a:t>
            </a:r>
            <a:endParaRPr lang="de-CH"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b="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1810920985"/>
      </p:ext>
    </p:extLst>
  </p:cSld>
  <p:clrMapOvr>
    <a:masterClrMapping/>
  </p:clrMapOvr>
  <p:transition>
    <p:wipe dir="r"/>
  </p:transition>
  <p:hf sldNum="0" hdr="0" dt="0"/>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dirty="0"/>
          </a:p>
        </p:txBody>
      </p:sp>
      <p:sp>
        <p:nvSpPr>
          <p:cNvPr id="3" name="Content Placeholder 2"/>
          <p:cNvSpPr>
            <a:spLocks noGrp="1"/>
          </p:cNvSpPr>
          <p:nvPr>
            <p:ph sz="half" idx="1"/>
          </p:nvPr>
        </p:nvSpPr>
        <p:spPr>
          <a:xfrm>
            <a:off x="373063" y="1211263"/>
            <a:ext cx="4152900"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4" name="Content Placeholder 3"/>
          <p:cNvSpPr>
            <a:spLocks noGrp="1"/>
          </p:cNvSpPr>
          <p:nvPr>
            <p:ph sz="half" idx="2"/>
          </p:nvPr>
        </p:nvSpPr>
        <p:spPr>
          <a:xfrm>
            <a:off x="4678363" y="1211263"/>
            <a:ext cx="4154487" cy="4730750"/>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5"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2978341270"/>
      </p:ext>
    </p:extLst>
  </p:cSld>
  <p:clrMapOvr>
    <a:masterClrMapping/>
  </p:clrMapOvr>
  <p:transition>
    <p:wipe dir="r"/>
  </p:transition>
  <p:hf sldNum="0" hdr="0" dt="0"/>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de-CH"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a:p>
        </p:txBody>
      </p:sp>
      <p:sp>
        <p:nvSpPr>
          <p:cNvPr id="5" name="Text Placeholder 4"/>
          <p:cNvSpPr>
            <a:spLocks noGrp="1"/>
          </p:cNvSpPr>
          <p:nvPr>
            <p:ph type="body" sz="quarter" idx="3"/>
          </p:nvPr>
        </p:nvSpPr>
        <p:spPr>
          <a:xfrm>
            <a:off x="4645025" y="1535113"/>
            <a:ext cx="4041775" cy="639762"/>
          </a:xfrm>
          <a:noFill/>
          <a:ln w="9525">
            <a:noFill/>
            <a:miter lim="800000"/>
            <a:headEnd/>
            <a:tailEnd/>
          </a:ln>
        </p:spPr>
        <p:txBody>
          <a:bodyPr anchor="b"/>
          <a:lstStyle>
            <a:lvl1pPr marL="0" indent="0">
              <a:buNone/>
              <a:defRPr lang="en-US" sz="2000" b="1"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7"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1069745834"/>
      </p:ext>
    </p:extLst>
  </p:cSld>
  <p:clrMapOvr>
    <a:masterClrMapping/>
  </p:clrMapOvr>
  <p:transition>
    <p:wipe dir="r"/>
  </p:transition>
  <p:hf sldNum="0" hdr="0" dt="0"/>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CH"/>
          </a:p>
        </p:txBody>
      </p:sp>
      <p:sp>
        <p:nvSpPr>
          <p:cNvPr id="3" name="Rectangle 5"/>
          <p:cNvSpPr>
            <a:spLocks noGrp="1" noChangeArrowheads="1"/>
          </p:cNvSpPr>
          <p:nvPr>
            <p:ph type="ftr" sz="quarter" idx="10"/>
          </p:nvPr>
        </p:nvSpPr>
        <p:spPr>
          <a:ln/>
        </p:spPr>
        <p:txBody>
          <a:bodyPr/>
          <a:lstStyle>
            <a:lvl1pPr>
              <a:defRPr/>
            </a:lvl1pPr>
          </a:lstStyle>
          <a:p>
            <a:pPr>
              <a:defRPr/>
            </a:pPr>
            <a:endParaRPr lang="en-US" dirty="0">
              <a:solidFill>
                <a:srgbClr val="626469"/>
              </a:solidFill>
            </a:endParaRPr>
          </a:p>
        </p:txBody>
      </p:sp>
    </p:spTree>
    <p:extLst>
      <p:ext uri="{BB962C8B-B14F-4D97-AF65-F5344CB8AC3E}">
        <p14:creationId xmlns:p14="http://schemas.microsoft.com/office/powerpoint/2010/main" val="3672653782"/>
      </p:ext>
    </p:extLst>
  </p:cSld>
  <p:clrMapOvr>
    <a:masterClrMapping/>
  </p:clrMapOvr>
  <p:transition>
    <p:wipe dir="r"/>
  </p:transition>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theme" Target="../theme/theme10.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2" Type="http://schemas.openxmlformats.org/officeDocument/2006/relationships/slideLayout" Target="../slideLayouts/slideLayout95.xml"/><Relationship Id="rId16" Type="http://schemas.openxmlformats.org/officeDocument/2006/relationships/image" Target="../media/image2.jpeg"/><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image" Target="../media/image1.png"/><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tags" Target="../tags/tag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image" Target="../media/image1.png"/><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theme" Target="../theme/theme11.xml"/><Relationship Id="rId2" Type="http://schemas.openxmlformats.org/officeDocument/2006/relationships/slideLayout" Target="../slideLayouts/slideLayout107.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image" Target="../media/image2.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theme" Target="../theme/theme12.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6" Type="http://schemas.openxmlformats.org/officeDocument/2006/relationships/image" Target="../media/image2.jpeg"/><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image" Target="../media/image1.png"/><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tags" Target="../tags/tag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image" Target="../media/image1.png"/><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theme" Target="../theme/theme13.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10" Type="http://schemas.openxmlformats.org/officeDocument/2006/relationships/slideLayout" Target="../slideLayouts/slideLayout138.xml"/><Relationship Id="rId19" Type="http://schemas.openxmlformats.org/officeDocument/2006/relationships/image" Target="../media/image2.jpeg"/><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theme" Target="../theme/theme14.xml"/><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image" Target="../media/image2.jpeg"/><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10" Type="http://schemas.openxmlformats.org/officeDocument/2006/relationships/slideLayout" Target="../slideLayouts/slideLayout154.xml"/><Relationship Id="rId19" Type="http://schemas.openxmlformats.org/officeDocument/2006/relationships/image" Target="../media/image1.png"/><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2" Type="http://schemas.openxmlformats.org/officeDocument/2006/relationships/slideLayout" Target="../slideLayouts/slideLayout163.xml"/><Relationship Id="rId16" Type="http://schemas.openxmlformats.org/officeDocument/2006/relationships/image" Target="../media/image2.jpeg"/><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image" Target="../media/image1.png"/><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image" Target="../media/image1.png"/><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theme" Target="../theme/theme16.xml"/><Relationship Id="rId2" Type="http://schemas.openxmlformats.org/officeDocument/2006/relationships/slideLayout" Target="../slideLayouts/slideLayout176.xml"/><Relationship Id="rId16" Type="http://schemas.openxmlformats.org/officeDocument/2006/relationships/slideLayout" Target="../slideLayouts/slideLayout190.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slideLayout" Target="../slideLayouts/slideLayout189.xml"/><Relationship Id="rId10" Type="http://schemas.openxmlformats.org/officeDocument/2006/relationships/slideLayout" Target="../slideLayouts/slideLayout184.xml"/><Relationship Id="rId19" Type="http://schemas.openxmlformats.org/officeDocument/2006/relationships/image" Target="../media/image2.jpeg"/><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slideLayout" Target="../slideLayouts/slideLayout18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slideLayout" Target="../slideLayouts/slideLayout203.xml"/><Relationship Id="rId18" Type="http://schemas.openxmlformats.org/officeDocument/2006/relationships/image" Target="../media/image1.png"/><Relationship Id="rId3" Type="http://schemas.openxmlformats.org/officeDocument/2006/relationships/slideLayout" Target="../slideLayouts/slideLayout193.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theme" Target="../theme/theme17.xml"/><Relationship Id="rId2" Type="http://schemas.openxmlformats.org/officeDocument/2006/relationships/slideLayout" Target="../slideLayouts/slideLayout192.xml"/><Relationship Id="rId16" Type="http://schemas.openxmlformats.org/officeDocument/2006/relationships/slideLayout" Target="../slideLayouts/slideLayout206.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5" Type="http://schemas.openxmlformats.org/officeDocument/2006/relationships/slideLayout" Target="../slideLayouts/slideLayout195.xml"/><Relationship Id="rId15" Type="http://schemas.openxmlformats.org/officeDocument/2006/relationships/slideLayout" Target="../slideLayouts/slideLayout205.xml"/><Relationship Id="rId10" Type="http://schemas.openxmlformats.org/officeDocument/2006/relationships/slideLayout" Target="../slideLayouts/slideLayout200.xml"/><Relationship Id="rId19" Type="http://schemas.openxmlformats.org/officeDocument/2006/relationships/image" Target="../media/image2.jpeg"/><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slideLayout" Target="../slideLayouts/slideLayout20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image" Target="../media/image1.png"/><Relationship Id="rId3" Type="http://schemas.openxmlformats.org/officeDocument/2006/relationships/slideLayout" Target="../slideLayouts/slideLayout209.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theme" Target="../theme/theme18.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10" Type="http://schemas.openxmlformats.org/officeDocument/2006/relationships/slideLayout" Target="../slideLayouts/slideLayout216.xml"/><Relationship Id="rId19" Type="http://schemas.openxmlformats.org/officeDocument/2006/relationships/image" Target="../media/image2.jpeg"/><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image" Target="../media/image1.png"/><Relationship Id="rId3" Type="http://schemas.openxmlformats.org/officeDocument/2006/relationships/slideLayout" Target="../slideLayouts/slideLayout225.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theme" Target="../theme/theme1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10" Type="http://schemas.openxmlformats.org/officeDocument/2006/relationships/slideLayout" Target="../slideLayouts/slideLayout232.xml"/><Relationship Id="rId19" Type="http://schemas.openxmlformats.org/officeDocument/2006/relationships/image" Target="../media/image2.jpeg"/><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4.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theme" Target="../theme/theme20.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image" Target="../media/image2.jpeg"/><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theme" Target="../theme/theme21.xml"/><Relationship Id="rId3" Type="http://schemas.openxmlformats.org/officeDocument/2006/relationships/slideLayout" Target="../slideLayouts/slideLayout253.x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image" Target="../media/image2.jpeg"/><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10" Type="http://schemas.openxmlformats.org/officeDocument/2006/relationships/slideLayout" Target="../slideLayouts/slideLayout260.xml"/><Relationship Id="rId19" Type="http://schemas.openxmlformats.org/officeDocument/2006/relationships/image" Target="../media/image1.png"/><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75.xml"/><Relationship Id="rId13" Type="http://schemas.openxmlformats.org/officeDocument/2006/relationships/slideLayout" Target="../slideLayouts/slideLayout280.xml"/><Relationship Id="rId3" Type="http://schemas.openxmlformats.org/officeDocument/2006/relationships/slideLayout" Target="../slideLayouts/slideLayout270.xml"/><Relationship Id="rId7" Type="http://schemas.openxmlformats.org/officeDocument/2006/relationships/slideLayout" Target="../slideLayouts/slideLayout274.xml"/><Relationship Id="rId12" Type="http://schemas.openxmlformats.org/officeDocument/2006/relationships/slideLayout" Target="../slideLayouts/slideLayout279.xml"/><Relationship Id="rId2" Type="http://schemas.openxmlformats.org/officeDocument/2006/relationships/slideLayout" Target="../slideLayouts/slideLayout269.xml"/><Relationship Id="rId16" Type="http://schemas.openxmlformats.org/officeDocument/2006/relationships/image" Target="../media/image2.jpeg"/><Relationship Id="rId1" Type="http://schemas.openxmlformats.org/officeDocument/2006/relationships/slideLayout" Target="../slideLayouts/slideLayout268.xml"/><Relationship Id="rId6" Type="http://schemas.openxmlformats.org/officeDocument/2006/relationships/slideLayout" Target="../slideLayouts/slideLayout273.xml"/><Relationship Id="rId11" Type="http://schemas.openxmlformats.org/officeDocument/2006/relationships/slideLayout" Target="../slideLayouts/slideLayout278.xml"/><Relationship Id="rId5" Type="http://schemas.openxmlformats.org/officeDocument/2006/relationships/slideLayout" Target="../slideLayouts/slideLayout272.xml"/><Relationship Id="rId15" Type="http://schemas.openxmlformats.org/officeDocument/2006/relationships/image" Target="../media/image1.png"/><Relationship Id="rId10" Type="http://schemas.openxmlformats.org/officeDocument/2006/relationships/slideLayout" Target="../slideLayouts/slideLayout277.xml"/><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theme" Target="../theme/theme23.xml"/><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5" Type="http://schemas.openxmlformats.org/officeDocument/2006/relationships/image" Target="../media/image2.jpeg"/><Relationship Id="rId10" Type="http://schemas.openxmlformats.org/officeDocument/2006/relationships/slideLayout" Target="../slideLayouts/slideLayout290.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image" Target="../media/image1.png"/><Relationship Id="rId3" Type="http://schemas.openxmlformats.org/officeDocument/2006/relationships/slideLayout" Target="../slideLayouts/slideLayout295.xml"/><Relationship Id="rId7" Type="http://schemas.openxmlformats.org/officeDocument/2006/relationships/slideLayout" Target="../slideLayouts/slideLayout299.xml"/><Relationship Id="rId12" Type="http://schemas.openxmlformats.org/officeDocument/2006/relationships/theme" Target="../theme/theme24.xml"/><Relationship Id="rId2" Type="http://schemas.openxmlformats.org/officeDocument/2006/relationships/slideLayout" Target="../slideLayouts/slideLayout294.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5" Type="http://schemas.openxmlformats.org/officeDocument/2006/relationships/slideLayout" Target="../slideLayouts/slideLayout297.xml"/><Relationship Id="rId10" Type="http://schemas.openxmlformats.org/officeDocument/2006/relationships/slideLayout" Target="../slideLayouts/slideLayout302.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4.xml"/><Relationship Id="rId7"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 Id="rId9"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1.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5.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2.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6.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1.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7.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2.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theme" Target="../theme/theme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image" Target="../media/image2.jpeg"/><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image" Target="../media/image1.png"/><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theme" Target="../theme/theme9.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5"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600"/>
            </a:lvl1pPr>
          </a:lstStyle>
          <a:p>
            <a:pPr>
              <a:defRPr/>
            </a:pPr>
            <a:r>
              <a:rPr lang="en-US" dirty="0" smtClean="0"/>
              <a:t>Classification: SECRET</a:t>
            </a:r>
            <a:endParaRPr lang="en-US" dirty="0"/>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pPr eaLnBrk="0" hangingPunct="0">
                <a:spcAft>
                  <a:spcPts val="600"/>
                </a:spcAft>
                <a:tabLst>
                  <a:tab pos="441325" algn="l"/>
                </a:tabLst>
                <a:defRPr/>
              </a:pPr>
              <a:t>‹#›</a:t>
            </a:fld>
            <a:r>
              <a:rPr lang="en-US" sz="1200" dirty="0"/>
              <a:t>	</a:t>
            </a:r>
          </a:p>
        </p:txBody>
      </p:sp>
      <p:pic>
        <p:nvPicPr>
          <p:cNvPr id="3079" name="Picture 8" descr="new logo"/>
          <p:cNvPicPr>
            <a:picLocks noChangeAspect="1" noChangeArrowheads="1"/>
          </p:cNvPicPr>
          <p:nvPr/>
        </p:nvPicPr>
        <p:blipFill>
          <a:blip r:embed="rId16" cstate="print"/>
          <a:srcRect/>
          <a:stretch>
            <a:fillRect/>
          </a:stretch>
        </p:blipFill>
        <p:spPr bwMode="auto">
          <a:xfrm>
            <a:off x="7489825" y="6403975"/>
            <a:ext cx="1174750" cy="3508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777" r:id="rId1"/>
    <p:sldLayoutId id="2147484757" r:id="rId2"/>
    <p:sldLayoutId id="2147484758" r:id="rId3"/>
    <p:sldLayoutId id="2147484759" r:id="rId4"/>
    <p:sldLayoutId id="2147484760" r:id="rId5"/>
    <p:sldLayoutId id="2147484761" r:id="rId6"/>
    <p:sldLayoutId id="2147484762" r:id="rId7"/>
    <p:sldLayoutId id="2147484763" r:id="rId8"/>
    <p:sldLayoutId id="2147484764" r:id="rId9"/>
    <p:sldLayoutId id="2147484765" r:id="rId10"/>
    <p:sldLayoutId id="2147484766" r:id="rId11"/>
    <p:sldLayoutId id="2147485113" r:id="rId12"/>
    <p:sldLayoutId id="2147485127" r:id="rId13"/>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1026" name="Picture 7" descr="ppt_land_print_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6173788"/>
            <a:ext cx="9144000"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p:cNvSpPr>
            <a:spLocks noGrp="1" noChangeArrowheads="1"/>
          </p:cNvSpPr>
          <p:nvPr>
            <p:ph type="title"/>
          </p:nvPr>
        </p:nvSpPr>
        <p:spPr bwMode="auto">
          <a:xfrm>
            <a:off x="373063" y="88900"/>
            <a:ext cx="8453437"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smtClean="0"/>
              <a:t>Click to edit Master title style</a:t>
            </a:r>
          </a:p>
        </p:txBody>
      </p:sp>
      <p:sp>
        <p:nvSpPr>
          <p:cNvPr id="1028" name="Rectangle 4"/>
          <p:cNvSpPr>
            <a:spLocks noGrp="1" noChangeArrowheads="1"/>
          </p:cNvSpPr>
          <p:nvPr>
            <p:ph type="body" idx="1"/>
          </p:nvPr>
        </p:nvSpPr>
        <p:spPr bwMode="auto">
          <a:xfrm>
            <a:off x="373063" y="1211263"/>
            <a:ext cx="8459787" cy="473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7173" name="Rectangle 5"/>
          <p:cNvSpPr>
            <a:spLocks noGrp="1" noChangeArrowheads="1"/>
          </p:cNvSpPr>
          <p:nvPr>
            <p:ph type="ftr" sz="quarter" idx="3"/>
          </p:nvPr>
        </p:nvSpPr>
        <p:spPr bwMode="auto">
          <a:xfrm>
            <a:off x="792163" y="6483350"/>
            <a:ext cx="5753100" cy="376238"/>
          </a:xfrm>
          <a:prstGeom prst="rect">
            <a:avLst/>
          </a:prstGeom>
          <a:noFill/>
          <a:ln w="9525">
            <a:noFill/>
            <a:miter lim="800000"/>
            <a:headEnd/>
            <a:tailEnd/>
          </a:ln>
          <a:effectLst/>
        </p:spPr>
        <p:txBody>
          <a:bodyPr vert="horz" wrap="square" lIns="0" tIns="45720" rIns="91440" bIns="45720" numCol="1" anchor="t" anchorCtr="0" compatLnSpc="1">
            <a:prstTxWarp prst="textNoShape">
              <a:avLst/>
            </a:prstTxWarp>
            <a:normAutofit/>
          </a:bodyPr>
          <a:lstStyle>
            <a:lvl1pPr eaLnBrk="0" hangingPunct="0">
              <a:spcAft>
                <a:spcPts val="600"/>
              </a:spcAft>
              <a:tabLst>
                <a:tab pos="441325" algn="l"/>
              </a:tabLst>
              <a:defRPr sz="1200"/>
            </a:lvl1pPr>
          </a:lstStyle>
          <a:p>
            <a:pPr>
              <a:defRPr/>
            </a:pPr>
            <a:endParaRPr lang="en-US" dirty="0">
              <a:solidFill>
                <a:srgbClr val="626469"/>
              </a:solidFill>
              <a:cs typeface="Arial" charset="0"/>
            </a:endParaRPr>
          </a:p>
        </p:txBody>
      </p:sp>
      <p:sp>
        <p:nvSpPr>
          <p:cNvPr id="1030" name="Rectangle 6"/>
          <p:cNvSpPr>
            <a:spLocks noChangeArrowheads="1"/>
          </p:cNvSpPr>
          <p:nvPr/>
        </p:nvSpPr>
        <p:spPr bwMode="auto">
          <a:xfrm>
            <a:off x="293688" y="6483350"/>
            <a:ext cx="557212"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spcAft>
                <a:spcPts val="600"/>
              </a:spcAft>
              <a:tabLst>
                <a:tab pos="441325" algn="l"/>
              </a:tabLst>
            </a:pPr>
            <a:fld id="{715E7775-6382-4B0E-A954-1367A63202CD}" type="slidenum">
              <a:rPr lang="en-US" sz="1200">
                <a:solidFill>
                  <a:srgbClr val="626469"/>
                </a:solidFill>
                <a:cs typeface="Arial" charset="0"/>
              </a:rPr>
              <a:pPr eaLnBrk="0" hangingPunct="0">
                <a:spcAft>
                  <a:spcPts val="600"/>
                </a:spcAft>
                <a:tabLst>
                  <a:tab pos="441325" algn="l"/>
                </a:tabLst>
              </a:pPr>
              <a:t>‹#›</a:t>
            </a:fld>
            <a:endParaRPr lang="en-US" sz="1200" dirty="0">
              <a:solidFill>
                <a:srgbClr val="626469"/>
              </a:solidFill>
              <a:cs typeface="Arial" charset="0"/>
            </a:endParaRPr>
          </a:p>
        </p:txBody>
      </p:sp>
      <p:pic>
        <p:nvPicPr>
          <p:cNvPr id="1031" name="Picture 8" descr="new log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489825" y="6403975"/>
            <a:ext cx="1174750"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custDataLst>
              <p:tags r:id="rId14"/>
            </p:custDataLst>
          </p:nvPr>
        </p:nvSpPr>
        <p:spPr>
          <a:xfrm>
            <a:off x="2228850" y="6567487"/>
            <a:ext cx="4010025" cy="390525"/>
          </a:xfrm>
          <a:prstGeom prst="rect">
            <a:avLst/>
          </a:prstGeom>
          <a:noFill/>
        </p:spPr>
        <p:txBody>
          <a:bodyPr wrap="none" rtlCol="0">
            <a:normAutofit/>
          </a:bodyPr>
          <a:lstStyle/>
          <a:p>
            <a:pPr algn="ctr">
              <a:spcBef>
                <a:spcPts val="0"/>
              </a:spcBef>
              <a:spcAft>
                <a:spcPts val="600"/>
              </a:spcAft>
            </a:pPr>
            <a:r>
              <a:rPr lang="de-CH" sz="1200" dirty="0" smtClean="0">
                <a:solidFill>
                  <a:srgbClr val="626469"/>
                </a:solidFill>
                <a:cs typeface="Arial" charset="0"/>
              </a:rPr>
              <a:t>Classification: CONFIDENTIAL</a:t>
            </a:r>
          </a:p>
        </p:txBody>
      </p:sp>
    </p:spTree>
    <p:extLst>
      <p:ext uri="{BB962C8B-B14F-4D97-AF65-F5344CB8AC3E}">
        <p14:creationId xmlns:p14="http://schemas.microsoft.com/office/powerpoint/2010/main" val="4221079018"/>
      </p:ext>
    </p:extLst>
  </p:cSld>
  <p:clrMap bg1="lt1" tx1="dk1" bg2="lt2" tx2="dk2" accent1="accent1" accent2="accent2" accent3="accent3" accent4="accent4" accent5="accent5" accent6="accent6" hlink="hlink" folHlink="folHlink"/>
  <p:sldLayoutIdLst>
    <p:sldLayoutId id="2147484871" r:id="rId1"/>
    <p:sldLayoutId id="2147484872" r:id="rId2"/>
    <p:sldLayoutId id="2147484873" r:id="rId3"/>
    <p:sldLayoutId id="2147484874" r:id="rId4"/>
    <p:sldLayoutId id="2147484875" r:id="rId5"/>
    <p:sldLayoutId id="2147484876" r:id="rId6"/>
    <p:sldLayoutId id="2147484877" r:id="rId7"/>
    <p:sldLayoutId id="2147484878" r:id="rId8"/>
    <p:sldLayoutId id="2147484879" r:id="rId9"/>
    <p:sldLayoutId id="2147484880" r:id="rId10"/>
    <p:sldLayoutId id="2147484881" r:id="rId11"/>
    <p:sldLayoutId id="2147484882" r:id="rId12"/>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3"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600"/>
            </a:lvl1pPr>
          </a:lstStyle>
          <a:p>
            <a:pPr>
              <a:defRPr/>
            </a:pPr>
            <a:r>
              <a:rPr lang="en-US" dirty="0" smtClean="0">
                <a:solidFill>
                  <a:srgbClr val="626469"/>
                </a:solidFill>
              </a:rPr>
              <a:t>Classification: SECRET</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4"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863372223"/>
      </p:ext>
    </p:extLst>
  </p:cSld>
  <p:clrMap bg1="lt1" tx1="dk1" bg2="lt2" tx2="dk2" accent1="accent1" accent2="accent2" accent3="accent3" accent4="accent4" accent5="accent5" accent6="accent6" hlink="hlink" folHlink="folHlink"/>
  <p:sldLayoutIdLst>
    <p:sldLayoutId id="2147484884" r:id="rId1"/>
    <p:sldLayoutId id="2147484885" r:id="rId2"/>
    <p:sldLayoutId id="2147484886" r:id="rId3"/>
    <p:sldLayoutId id="2147484887" r:id="rId4"/>
    <p:sldLayoutId id="2147484888" r:id="rId5"/>
    <p:sldLayoutId id="2147484889" r:id="rId6"/>
    <p:sldLayoutId id="2147484890" r:id="rId7"/>
    <p:sldLayoutId id="2147484891" r:id="rId8"/>
    <p:sldLayoutId id="2147484892" r:id="rId9"/>
    <p:sldLayoutId id="2147484893" r:id="rId10"/>
    <p:sldLayoutId id="2147484894" r:id="rId11"/>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1026" name="Picture 7" descr="ppt_land_print_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6173788"/>
            <a:ext cx="9144000" cy="688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p:cNvSpPr>
            <a:spLocks noGrp="1" noChangeArrowheads="1"/>
          </p:cNvSpPr>
          <p:nvPr>
            <p:ph type="title"/>
          </p:nvPr>
        </p:nvSpPr>
        <p:spPr bwMode="auto">
          <a:xfrm>
            <a:off x="373063" y="88900"/>
            <a:ext cx="8453437"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smtClean="0"/>
              <a:t>Click to edit Master title style</a:t>
            </a:r>
          </a:p>
        </p:txBody>
      </p:sp>
      <p:sp>
        <p:nvSpPr>
          <p:cNvPr id="1028" name="Rectangle 4"/>
          <p:cNvSpPr>
            <a:spLocks noGrp="1" noChangeArrowheads="1"/>
          </p:cNvSpPr>
          <p:nvPr>
            <p:ph type="body" idx="1"/>
          </p:nvPr>
        </p:nvSpPr>
        <p:spPr bwMode="auto">
          <a:xfrm>
            <a:off x="373063" y="1211263"/>
            <a:ext cx="8459787" cy="473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7173" name="Rectangle 5"/>
          <p:cNvSpPr>
            <a:spLocks noGrp="1" noChangeArrowheads="1"/>
          </p:cNvSpPr>
          <p:nvPr>
            <p:ph type="ftr" sz="quarter" idx="3"/>
          </p:nvPr>
        </p:nvSpPr>
        <p:spPr bwMode="auto">
          <a:xfrm>
            <a:off x="792163" y="6483350"/>
            <a:ext cx="5753100" cy="376238"/>
          </a:xfrm>
          <a:prstGeom prst="rect">
            <a:avLst/>
          </a:prstGeom>
          <a:noFill/>
          <a:ln w="9525">
            <a:noFill/>
            <a:miter lim="800000"/>
            <a:headEnd/>
            <a:tailEnd/>
          </a:ln>
          <a:effectLst/>
        </p:spPr>
        <p:txBody>
          <a:bodyPr vert="horz" wrap="square" lIns="0" tIns="45720" rIns="91440" bIns="45720" numCol="1" anchor="t" anchorCtr="0" compatLnSpc="1">
            <a:prstTxWarp prst="textNoShape">
              <a:avLst/>
            </a:prstTxWarp>
            <a:normAutofit/>
          </a:bodyPr>
          <a:lstStyle>
            <a:lvl1pPr eaLnBrk="0" hangingPunct="0">
              <a:spcAft>
                <a:spcPts val="600"/>
              </a:spcAft>
              <a:tabLst>
                <a:tab pos="441325" algn="l"/>
              </a:tabLst>
              <a:defRPr sz="1200"/>
            </a:lvl1pPr>
          </a:lstStyle>
          <a:p>
            <a:pPr>
              <a:defRPr/>
            </a:pPr>
            <a:endParaRPr lang="en-US" dirty="0">
              <a:solidFill>
                <a:srgbClr val="626469"/>
              </a:solidFill>
              <a:cs typeface="Arial" charset="0"/>
            </a:endParaRPr>
          </a:p>
        </p:txBody>
      </p:sp>
      <p:sp>
        <p:nvSpPr>
          <p:cNvPr id="1030" name="Rectangle 6"/>
          <p:cNvSpPr>
            <a:spLocks noChangeArrowheads="1"/>
          </p:cNvSpPr>
          <p:nvPr/>
        </p:nvSpPr>
        <p:spPr bwMode="auto">
          <a:xfrm>
            <a:off x="293688" y="6483350"/>
            <a:ext cx="557212"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spcAft>
                <a:spcPts val="600"/>
              </a:spcAft>
              <a:tabLst>
                <a:tab pos="441325" algn="l"/>
              </a:tabLst>
            </a:pPr>
            <a:fld id="{715E7775-6382-4B0E-A954-1367A63202CD}" type="slidenum">
              <a:rPr lang="en-US" sz="1200">
                <a:solidFill>
                  <a:srgbClr val="626469"/>
                </a:solidFill>
                <a:cs typeface="Arial" charset="0"/>
              </a:rPr>
              <a:pPr eaLnBrk="0" hangingPunct="0">
                <a:spcAft>
                  <a:spcPts val="600"/>
                </a:spcAft>
                <a:tabLst>
                  <a:tab pos="441325" algn="l"/>
                </a:tabLst>
              </a:pPr>
              <a:t>‹#›</a:t>
            </a:fld>
            <a:endParaRPr lang="en-US" sz="1200" dirty="0">
              <a:solidFill>
                <a:srgbClr val="626469"/>
              </a:solidFill>
              <a:cs typeface="Arial" charset="0"/>
            </a:endParaRPr>
          </a:p>
        </p:txBody>
      </p:sp>
      <p:pic>
        <p:nvPicPr>
          <p:cNvPr id="1031" name="Picture 8" descr="new logo"/>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489825" y="6403975"/>
            <a:ext cx="1174750"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custDataLst>
              <p:tags r:id="rId14"/>
            </p:custDataLst>
          </p:nvPr>
        </p:nvSpPr>
        <p:spPr>
          <a:xfrm>
            <a:off x="2228850" y="6567487"/>
            <a:ext cx="4010025" cy="390525"/>
          </a:xfrm>
          <a:prstGeom prst="rect">
            <a:avLst/>
          </a:prstGeom>
          <a:noFill/>
        </p:spPr>
        <p:txBody>
          <a:bodyPr wrap="none" rtlCol="0">
            <a:normAutofit/>
          </a:bodyPr>
          <a:lstStyle/>
          <a:p>
            <a:pPr algn="ctr">
              <a:spcBef>
                <a:spcPts val="0"/>
              </a:spcBef>
              <a:spcAft>
                <a:spcPts val="600"/>
              </a:spcAft>
            </a:pPr>
            <a:r>
              <a:rPr lang="de-CH" sz="1200" dirty="0" smtClean="0">
                <a:solidFill>
                  <a:srgbClr val="626469"/>
                </a:solidFill>
                <a:cs typeface="Arial" charset="0"/>
              </a:rPr>
              <a:t>Classification: CONFIDENTIAL</a:t>
            </a:r>
          </a:p>
        </p:txBody>
      </p:sp>
    </p:spTree>
    <p:extLst>
      <p:ext uri="{BB962C8B-B14F-4D97-AF65-F5344CB8AC3E}">
        <p14:creationId xmlns:p14="http://schemas.microsoft.com/office/powerpoint/2010/main" val="3422657350"/>
      </p:ext>
    </p:extLst>
  </p:cSld>
  <p:clrMap bg1="lt1" tx1="dk1" bg2="lt2" tx2="dk2" accent1="accent1" accent2="accent2" accent3="accent3" accent4="accent4" accent5="accent5" accent6="accent6" hlink="hlink" folHlink="folHlink"/>
  <p:sldLayoutIdLst>
    <p:sldLayoutId id="2147484896" r:id="rId1"/>
    <p:sldLayoutId id="2147484897" r:id="rId2"/>
    <p:sldLayoutId id="2147484898" r:id="rId3"/>
    <p:sldLayoutId id="2147484899" r:id="rId4"/>
    <p:sldLayoutId id="2147484900" r:id="rId5"/>
    <p:sldLayoutId id="2147484901" r:id="rId6"/>
    <p:sldLayoutId id="2147484902" r:id="rId7"/>
    <p:sldLayoutId id="2147484903" r:id="rId8"/>
    <p:sldLayoutId id="2147484904" r:id="rId9"/>
    <p:sldLayoutId id="2147484905" r:id="rId10"/>
    <p:sldLayoutId id="2147484906" r:id="rId11"/>
    <p:sldLayoutId id="2147484907" r:id="rId12"/>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8"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smtClean="0">
                <a:solidFill>
                  <a:srgbClr val="626469"/>
                </a:solidFill>
              </a:rPr>
              <a:t>Classification: Public</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9"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2420940182"/>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3" r:id="rId14"/>
    <p:sldLayoutId id="2147484924" r:id="rId15"/>
    <p:sldLayoutId id="2147484925" r:id="rId16"/>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9"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smtClean="0">
                <a:solidFill>
                  <a:srgbClr val="626469"/>
                </a:solidFill>
              </a:rPr>
              <a:t>Classification: Public</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20"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1541809751"/>
      </p:ext>
    </p:extLst>
  </p:cSld>
  <p:clrMap bg1="lt1" tx1="dk1" bg2="lt2" tx2="dk2" accent1="accent1" accent2="accent2" accent3="accent3" accent4="accent4" accent5="accent5" accent6="accent6" hlink="hlink" folHlink="folHlink"/>
  <p:sldLayoutIdLst>
    <p:sldLayoutId id="2147484927" r:id="rId1"/>
    <p:sldLayoutId id="2147484928" r:id="rId2"/>
    <p:sldLayoutId id="2147484929" r:id="rId3"/>
    <p:sldLayoutId id="2147484930" r:id="rId4"/>
    <p:sldLayoutId id="2147484931" r:id="rId5"/>
    <p:sldLayoutId id="2147484932" r:id="rId6"/>
    <p:sldLayoutId id="2147484933" r:id="rId7"/>
    <p:sldLayoutId id="2147484934" r:id="rId8"/>
    <p:sldLayoutId id="2147484935" r:id="rId9"/>
    <p:sldLayoutId id="2147484936" r:id="rId10"/>
    <p:sldLayoutId id="2147484937" r:id="rId11"/>
    <p:sldLayoutId id="2147484938" r:id="rId12"/>
    <p:sldLayoutId id="2147484939" r:id="rId13"/>
    <p:sldLayoutId id="2147484940" r:id="rId14"/>
    <p:sldLayoutId id="2147484941" r:id="rId15"/>
    <p:sldLayoutId id="2147484942" r:id="rId16"/>
    <p:sldLayoutId id="2147484943" r:id="rId17"/>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5"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dirty="0" smtClean="0">
                <a:solidFill>
                  <a:srgbClr val="626469"/>
                </a:solidFill>
              </a:rPr>
              <a:t>Classification: PUBLIC USE</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6"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2095574908"/>
      </p:ext>
    </p:extLst>
  </p:cSld>
  <p:clrMap bg1="lt1" tx1="dk1" bg2="lt2" tx2="dk2" accent1="accent1" accent2="accent2" accent3="accent3" accent4="accent4" accent5="accent5" accent6="accent6" hlink="hlink" folHlink="folHlink"/>
  <p:sldLayoutIdLst>
    <p:sldLayoutId id="2147484945" r:id="rId1"/>
    <p:sldLayoutId id="2147484946" r:id="rId2"/>
    <p:sldLayoutId id="2147484947" r:id="rId3"/>
    <p:sldLayoutId id="2147484948" r:id="rId4"/>
    <p:sldLayoutId id="2147484949" r:id="rId5"/>
    <p:sldLayoutId id="2147484950" r:id="rId6"/>
    <p:sldLayoutId id="2147484951" r:id="rId7"/>
    <p:sldLayoutId id="2147484952" r:id="rId8"/>
    <p:sldLayoutId id="2147484953" r:id="rId9"/>
    <p:sldLayoutId id="2147484954" r:id="rId10"/>
    <p:sldLayoutId id="2147484955" r:id="rId11"/>
    <p:sldLayoutId id="2147484956" r:id="rId12"/>
    <p:sldLayoutId id="2147484957" r:id="rId13"/>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lnSpc>
          <a:spcPct val="110000"/>
        </a:lnSpc>
        <a:spcBef>
          <a:spcPct val="0"/>
        </a:spcBef>
        <a:spcAft>
          <a:spcPts val="12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lnSpc>
          <a:spcPct val="110000"/>
        </a:lnSpc>
        <a:spcBef>
          <a:spcPct val="0"/>
        </a:spcBef>
        <a:spcAft>
          <a:spcPts val="1200"/>
        </a:spcAft>
        <a:buClr>
          <a:schemeClr val="tx2"/>
        </a:buClr>
        <a:buFont typeface="Arial" charset="0"/>
        <a:buChar char="-"/>
        <a:defRPr sz="2000">
          <a:solidFill>
            <a:schemeClr val="tx1"/>
          </a:solidFill>
          <a:latin typeface="+mn-lt"/>
        </a:defRPr>
      </a:lvl2pPr>
      <a:lvl3pPr marL="1144588" indent="-287338" algn="l" defTabSz="957263" rtl="0" eaLnBrk="1" fontAlgn="base" hangingPunct="1">
        <a:lnSpc>
          <a:spcPct val="110000"/>
        </a:lnSpc>
        <a:spcBef>
          <a:spcPct val="0"/>
        </a:spcBef>
        <a:spcAft>
          <a:spcPts val="1200"/>
        </a:spcAft>
        <a:buClr>
          <a:schemeClr val="tx2"/>
        </a:buClr>
        <a:buChar char="•"/>
        <a:defRPr sz="2000">
          <a:solidFill>
            <a:schemeClr val="tx1"/>
          </a:solidFill>
          <a:latin typeface="+mn-lt"/>
        </a:defRPr>
      </a:lvl3pPr>
      <a:lvl4pPr marL="1619250" indent="-295275" algn="l" defTabSz="957263" rtl="0" eaLnBrk="1" fontAlgn="base" hangingPunct="1">
        <a:lnSpc>
          <a:spcPct val="110000"/>
        </a:lnSpc>
        <a:spcBef>
          <a:spcPct val="0"/>
        </a:spcBef>
        <a:spcAft>
          <a:spcPts val="1200"/>
        </a:spcAft>
        <a:buClr>
          <a:schemeClr val="tx2"/>
        </a:buClr>
        <a:buFont typeface="Arial" charset="0"/>
        <a:buChar char="-"/>
        <a:defRPr sz="2000">
          <a:solidFill>
            <a:schemeClr val="tx1"/>
          </a:solidFill>
          <a:latin typeface="+mn-lt"/>
        </a:defRPr>
      </a:lvl4pPr>
      <a:lvl5pPr marL="2093913" indent="-295275" algn="l" defTabSz="957263" rtl="0" eaLnBrk="1" fontAlgn="base" hangingPunct="1">
        <a:lnSpc>
          <a:spcPct val="110000"/>
        </a:lnSpc>
        <a:spcBef>
          <a:spcPct val="0"/>
        </a:spcBef>
        <a:spcAft>
          <a:spcPts val="12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8"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smtClean="0">
                <a:solidFill>
                  <a:srgbClr val="626469"/>
                </a:solidFill>
              </a:rPr>
              <a:t>Classification: Public</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9"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637702604"/>
      </p:ext>
    </p:extLst>
  </p:cSld>
  <p:clrMap bg1="lt1" tx1="dk1" bg2="lt2" tx2="dk2" accent1="accent1" accent2="accent2" accent3="accent3" accent4="accent4" accent5="accent5" accent6="accent6" hlink="hlink" folHlink="folHlink"/>
  <p:sldLayoutIdLst>
    <p:sldLayoutId id="2147484959" r:id="rId1"/>
    <p:sldLayoutId id="2147484960" r:id="rId2"/>
    <p:sldLayoutId id="2147484961" r:id="rId3"/>
    <p:sldLayoutId id="2147484962" r:id="rId4"/>
    <p:sldLayoutId id="2147484963" r:id="rId5"/>
    <p:sldLayoutId id="2147484964" r:id="rId6"/>
    <p:sldLayoutId id="2147484965" r:id="rId7"/>
    <p:sldLayoutId id="2147484966" r:id="rId8"/>
    <p:sldLayoutId id="2147484967" r:id="rId9"/>
    <p:sldLayoutId id="2147484968" r:id="rId10"/>
    <p:sldLayoutId id="2147484969" r:id="rId11"/>
    <p:sldLayoutId id="2147484970" r:id="rId12"/>
    <p:sldLayoutId id="2147484971" r:id="rId13"/>
    <p:sldLayoutId id="2147484972" r:id="rId14"/>
    <p:sldLayoutId id="2147484974" r:id="rId15"/>
    <p:sldLayoutId id="2147484975" r:id="rId16"/>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8"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smtClean="0">
                <a:solidFill>
                  <a:srgbClr val="626469"/>
                </a:solidFill>
              </a:rPr>
              <a:t>Classification: Public</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9"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2881456936"/>
      </p:ext>
    </p:extLst>
  </p:cSld>
  <p:clrMap bg1="lt1" tx1="dk1" bg2="lt2" tx2="dk2" accent1="accent1" accent2="accent2" accent3="accent3" accent4="accent4" accent5="accent5" accent6="accent6" hlink="hlink" folHlink="folHlink"/>
  <p:sldLayoutIdLst>
    <p:sldLayoutId id="2147484977" r:id="rId1"/>
    <p:sldLayoutId id="2147484978" r:id="rId2"/>
    <p:sldLayoutId id="2147484979" r:id="rId3"/>
    <p:sldLayoutId id="2147484980" r:id="rId4"/>
    <p:sldLayoutId id="2147484981" r:id="rId5"/>
    <p:sldLayoutId id="2147484982" r:id="rId6"/>
    <p:sldLayoutId id="2147484983" r:id="rId7"/>
    <p:sldLayoutId id="2147484984" r:id="rId8"/>
    <p:sldLayoutId id="2147484985" r:id="rId9"/>
    <p:sldLayoutId id="2147484986" r:id="rId10"/>
    <p:sldLayoutId id="2147484987" r:id="rId11"/>
    <p:sldLayoutId id="2147484988" r:id="rId12"/>
    <p:sldLayoutId id="2147484989" r:id="rId13"/>
    <p:sldLayoutId id="2147484990" r:id="rId14"/>
    <p:sldLayoutId id="2147484992" r:id="rId15"/>
    <p:sldLayoutId id="2147484993" r:id="rId16"/>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8"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smtClean="0">
                <a:solidFill>
                  <a:srgbClr val="626469"/>
                </a:solidFill>
              </a:rPr>
              <a:t>Classification: Public</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9"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1955981330"/>
      </p:ext>
    </p:extLst>
  </p:cSld>
  <p:clrMap bg1="lt1" tx1="dk1" bg2="lt2" tx2="dk2" accent1="accent1" accent2="accent2" accent3="accent3" accent4="accent4" accent5="accent5" accent6="accent6" hlink="hlink" folHlink="folHlink"/>
  <p:sldLayoutIdLst>
    <p:sldLayoutId id="2147484995" r:id="rId1"/>
    <p:sldLayoutId id="2147484996" r:id="rId2"/>
    <p:sldLayoutId id="2147484997" r:id="rId3"/>
    <p:sldLayoutId id="2147484998" r:id="rId4"/>
    <p:sldLayoutId id="2147484999" r:id="rId5"/>
    <p:sldLayoutId id="2147485000" r:id="rId6"/>
    <p:sldLayoutId id="2147485001" r:id="rId7"/>
    <p:sldLayoutId id="2147485002" r:id="rId8"/>
    <p:sldLayoutId id="2147485003" r:id="rId9"/>
    <p:sldLayoutId id="2147485004" r:id="rId10"/>
    <p:sldLayoutId id="2147485005" r:id="rId11"/>
    <p:sldLayoutId id="2147485006" r:id="rId12"/>
    <p:sldLayoutId id="2147485007" r:id="rId13"/>
    <p:sldLayoutId id="2147485008" r:id="rId14"/>
    <p:sldLayoutId id="2147485010" r:id="rId15"/>
    <p:sldLayoutId id="2147485011" r:id="rId16"/>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8"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smtClean="0">
                <a:solidFill>
                  <a:srgbClr val="626469"/>
                </a:solidFill>
              </a:rPr>
              <a:t>Classification: Public</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9"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3978266888"/>
      </p:ext>
    </p:extLst>
  </p:cSld>
  <p:clrMap bg1="lt1" tx1="dk1" bg2="lt2" tx2="dk2" accent1="accent1" accent2="accent2" accent3="accent3" accent4="accent4" accent5="accent5" accent6="accent6" hlink="hlink" folHlink="folHlink"/>
  <p:sldLayoutIdLst>
    <p:sldLayoutId id="2147485013" r:id="rId1"/>
    <p:sldLayoutId id="2147485014" r:id="rId2"/>
    <p:sldLayoutId id="2147485015" r:id="rId3"/>
    <p:sldLayoutId id="2147485016" r:id="rId4"/>
    <p:sldLayoutId id="2147485017" r:id="rId5"/>
    <p:sldLayoutId id="2147485018" r:id="rId6"/>
    <p:sldLayoutId id="2147485019" r:id="rId7"/>
    <p:sldLayoutId id="2147485020" r:id="rId8"/>
    <p:sldLayoutId id="2147485021" r:id="rId9"/>
    <p:sldLayoutId id="2147485022" r:id="rId10"/>
    <p:sldLayoutId id="2147485023" r:id="rId11"/>
    <p:sldLayoutId id="2147485024" r:id="rId12"/>
    <p:sldLayoutId id="2147485025" r:id="rId13"/>
    <p:sldLayoutId id="2147485026" r:id="rId14"/>
    <p:sldLayoutId id="2147485027" r:id="rId15"/>
    <p:sldLayoutId id="2147485028" r:id="rId16"/>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4098" name="Picture 6" descr="Folienbild neu"/>
          <p:cNvPicPr>
            <a:picLocks noChangeAspect="1" noChangeArrowheads="1"/>
          </p:cNvPicPr>
          <p:nvPr/>
        </p:nvPicPr>
        <p:blipFill>
          <a:blip r:embed="rId14" cstate="print"/>
          <a:srcRect/>
          <a:stretch>
            <a:fillRect/>
          </a:stretch>
        </p:blipFill>
        <p:spPr bwMode="auto">
          <a:xfrm>
            <a:off x="0" y="6167438"/>
            <a:ext cx="9144000" cy="704850"/>
          </a:xfrm>
          <a:prstGeom prst="rect">
            <a:avLst/>
          </a:prstGeom>
          <a:noFill/>
          <a:ln w="9525">
            <a:noFill/>
            <a:miter lim="800000"/>
            <a:headEnd/>
            <a:tailEnd/>
          </a:ln>
        </p:spPr>
      </p:pic>
      <p:sp>
        <p:nvSpPr>
          <p:cNvPr id="4099" name="Rectangle 2"/>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en-US" smtClean="0"/>
              <a:t>Click to edit Master title style</a:t>
            </a:r>
          </a:p>
        </p:txBody>
      </p:sp>
      <p:sp>
        <p:nvSpPr>
          <p:cNvPr id="4100" name="Rectangle 3"/>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 name="Rectangle 4"/>
          <p:cNvSpPr>
            <a:spLocks noGrp="1" noChangeArrowheads="1"/>
          </p:cNvSpPr>
          <p:nvPr>
            <p:ph type="ftr" sz="quarter" idx="3"/>
          </p:nvPr>
        </p:nvSpPr>
        <p:spPr bwMode="auto">
          <a:xfrm>
            <a:off x="792163" y="6483350"/>
            <a:ext cx="5753100" cy="376238"/>
          </a:xfrm>
          <a:prstGeom prst="rect">
            <a:avLst/>
          </a:prstGeom>
          <a:noFill/>
          <a:ln w="9525">
            <a:noFill/>
            <a:miter lim="800000"/>
            <a:headEnd/>
            <a:tailEnd/>
          </a:ln>
          <a:effectLst/>
        </p:spPr>
        <p:txBody>
          <a:bodyPr vert="horz" wrap="square" lIns="0" tIns="45720" rIns="91440" bIns="45720" numCol="1" anchor="t" anchorCtr="0" compatLnSpc="1">
            <a:prstTxWarp prst="textNoShape">
              <a:avLst/>
            </a:prstTxWarp>
            <a:normAutofit/>
          </a:bodyPr>
          <a:lstStyle>
            <a:lvl1pPr eaLnBrk="0" hangingPunct="0">
              <a:spcAft>
                <a:spcPts val="600"/>
              </a:spcAft>
              <a:tabLst>
                <a:tab pos="441325" algn="l"/>
              </a:tabLst>
              <a:defRPr sz="1200">
                <a:solidFill>
                  <a:srgbClr val="FFFFFF"/>
                </a:solidFill>
              </a:defRPr>
            </a:lvl1pPr>
          </a:lstStyle>
          <a:p>
            <a:pPr>
              <a:defRPr/>
            </a:pPr>
            <a:r>
              <a:rPr lang="en-US" dirty="0" smtClean="0"/>
              <a:t>Classification: SECRET</a:t>
            </a:r>
            <a:endParaRPr lang="en-US" dirty="0"/>
          </a:p>
        </p:txBody>
      </p:sp>
      <p:sp>
        <p:nvSpPr>
          <p:cNvPr id="4101" name="Rectangle 5"/>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3041ACBF-2812-49E3-B521-BE89A2E4D0C5}" type="slidenum">
              <a:rPr lang="en-US" sz="1200">
                <a:solidFill>
                  <a:srgbClr val="FFFFFF"/>
                </a:solidFill>
              </a:rPr>
              <a:pPr eaLnBrk="0" hangingPunct="0">
                <a:spcAft>
                  <a:spcPts val="600"/>
                </a:spcAft>
                <a:tabLst>
                  <a:tab pos="441325" algn="l"/>
                </a:tabLst>
                <a:defRPr/>
              </a:pPr>
              <a:t>‹#›</a:t>
            </a:fld>
            <a:r>
              <a:rPr lang="en-US" sz="1200" dirty="0">
                <a:solidFill>
                  <a:srgbClr val="FFFFFF"/>
                </a:solidFill>
              </a:rPr>
              <a:t>	</a:t>
            </a:r>
          </a:p>
        </p:txBody>
      </p:sp>
    </p:spTree>
  </p:cSld>
  <p:clrMap bg1="lt1" tx1="dk1" bg2="lt2" tx2="dk2" accent1="accent1" accent2="accent2" accent3="accent3" accent4="accent4" accent5="accent5" accent6="accent6" hlink="hlink" folHlink="folHlink"/>
  <p:sldLayoutIdLst>
    <p:sldLayoutId id="2147484779" r:id="rId1"/>
    <p:sldLayoutId id="2147484767" r:id="rId2"/>
    <p:sldLayoutId id="2147484768" r:id="rId3"/>
    <p:sldLayoutId id="2147484769" r:id="rId4"/>
    <p:sldLayoutId id="2147484770" r:id="rId5"/>
    <p:sldLayoutId id="2147484771" r:id="rId6"/>
    <p:sldLayoutId id="2147484772" r:id="rId7"/>
    <p:sldLayoutId id="2147484773" r:id="rId8"/>
    <p:sldLayoutId id="2147484774" r:id="rId9"/>
    <p:sldLayoutId id="2147484775" r:id="rId10"/>
    <p:sldLayoutId id="2147484776" r:id="rId11"/>
    <p:sldLayoutId id="2147484780" r:id="rId12"/>
  </p:sldLayoutIdLst>
  <p:transition>
    <p:wipe dir="r"/>
  </p:transition>
  <p:hf sldNum="0" hdr="0" dt="0"/>
  <p:txStyles>
    <p:titleStyle>
      <a:lvl1pPr algn="l" defTabSz="957263" rtl="0" eaLnBrk="0" fontAlgn="base" hangingPunct="0">
        <a:lnSpc>
          <a:spcPct val="90000"/>
        </a:lnSpc>
        <a:spcBef>
          <a:spcPct val="0"/>
        </a:spcBef>
        <a:spcAft>
          <a:spcPct val="0"/>
        </a:spcAft>
        <a:defRPr sz="2200" b="1">
          <a:solidFill>
            <a:schemeClr val="tx2"/>
          </a:solidFill>
          <a:latin typeface="+mj-lt"/>
          <a:ea typeface="+mj-ea"/>
          <a:cs typeface="+mj-cs"/>
        </a:defRPr>
      </a:lvl1pPr>
      <a:lvl2pPr algn="l" defTabSz="957263" rtl="0" eaLnBrk="0" fontAlgn="base" hangingPunct="0">
        <a:lnSpc>
          <a:spcPct val="90000"/>
        </a:lnSpc>
        <a:spcBef>
          <a:spcPct val="0"/>
        </a:spcBef>
        <a:spcAft>
          <a:spcPct val="0"/>
        </a:spcAft>
        <a:defRPr sz="2200" b="1">
          <a:solidFill>
            <a:schemeClr val="tx2"/>
          </a:solidFill>
          <a:latin typeface="Arial" charset="0"/>
        </a:defRPr>
      </a:lvl2pPr>
      <a:lvl3pPr algn="l" defTabSz="957263" rtl="0" eaLnBrk="0" fontAlgn="base" hangingPunct="0">
        <a:lnSpc>
          <a:spcPct val="90000"/>
        </a:lnSpc>
        <a:spcBef>
          <a:spcPct val="0"/>
        </a:spcBef>
        <a:spcAft>
          <a:spcPct val="0"/>
        </a:spcAft>
        <a:defRPr sz="2200" b="1">
          <a:solidFill>
            <a:schemeClr val="tx2"/>
          </a:solidFill>
          <a:latin typeface="Arial" charset="0"/>
        </a:defRPr>
      </a:lvl3pPr>
      <a:lvl4pPr algn="l" defTabSz="957263" rtl="0" eaLnBrk="0" fontAlgn="base" hangingPunct="0">
        <a:lnSpc>
          <a:spcPct val="90000"/>
        </a:lnSpc>
        <a:spcBef>
          <a:spcPct val="0"/>
        </a:spcBef>
        <a:spcAft>
          <a:spcPct val="0"/>
        </a:spcAft>
        <a:defRPr sz="2200" b="1">
          <a:solidFill>
            <a:schemeClr val="tx2"/>
          </a:solidFill>
          <a:latin typeface="Arial" charset="0"/>
        </a:defRPr>
      </a:lvl4pPr>
      <a:lvl5pPr algn="l" defTabSz="957263" rtl="0" eaLnBrk="0" fontAlgn="base" hangingPunct="0">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0" fontAlgn="base" hangingPunct="0">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0" fontAlgn="base" hangingPunct="0">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0" fontAlgn="base" hangingPunct="0">
        <a:spcBef>
          <a:spcPct val="0"/>
        </a:spcBef>
        <a:spcAft>
          <a:spcPct val="25000"/>
        </a:spcAft>
        <a:buClr>
          <a:schemeClr val="tx2"/>
        </a:buClr>
        <a:buChar char="•"/>
        <a:defRPr sz="2000">
          <a:solidFill>
            <a:schemeClr val="tx1"/>
          </a:solidFill>
          <a:latin typeface="+mn-lt"/>
        </a:defRPr>
      </a:lvl3pPr>
      <a:lvl4pPr marL="1619250" indent="-295275" algn="l" defTabSz="957263" rtl="0" eaLnBrk="0" fontAlgn="base" hangingPunct="0">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0" fontAlgn="base" hangingPunct="0">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4"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600"/>
            </a:lvl1pPr>
          </a:lstStyle>
          <a:p>
            <a:pPr>
              <a:defRPr/>
            </a:pPr>
            <a:r>
              <a:rPr lang="en-US" dirty="0" smtClean="0">
                <a:solidFill>
                  <a:srgbClr val="626469"/>
                </a:solidFill>
              </a:rPr>
              <a:t>Classification: SECRET</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5"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891212254"/>
      </p:ext>
    </p:extLst>
  </p:cSld>
  <p:clrMap bg1="lt1" tx1="dk1" bg2="lt2" tx2="dk2" accent1="accent1" accent2="accent2" accent3="accent3" accent4="accent4" accent5="accent5" accent6="accent6" hlink="hlink" folHlink="folHlink"/>
  <p:sldLayoutIdLst>
    <p:sldLayoutId id="2147485031" r:id="rId1"/>
    <p:sldLayoutId id="2147485032" r:id="rId2"/>
    <p:sldLayoutId id="2147485033" r:id="rId3"/>
    <p:sldLayoutId id="2147485034" r:id="rId4"/>
    <p:sldLayoutId id="2147485035" r:id="rId5"/>
    <p:sldLayoutId id="2147485036" r:id="rId6"/>
    <p:sldLayoutId id="2147485037" r:id="rId7"/>
    <p:sldLayoutId id="2147485038" r:id="rId8"/>
    <p:sldLayoutId id="2147485039" r:id="rId9"/>
    <p:sldLayoutId id="2147485040" r:id="rId10"/>
    <p:sldLayoutId id="2147485041" r:id="rId11"/>
    <p:sldLayoutId id="2147485042" r:id="rId12"/>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9"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smtClean="0">
                <a:solidFill>
                  <a:srgbClr val="626469"/>
                </a:solidFill>
              </a:rPr>
              <a:t>Classification: Public</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20"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4199753739"/>
      </p:ext>
    </p:extLst>
  </p:cSld>
  <p:clrMap bg1="lt1" tx1="dk1" bg2="lt2" tx2="dk2" accent1="accent1" accent2="accent2" accent3="accent3" accent4="accent4" accent5="accent5" accent6="accent6" hlink="hlink" folHlink="folHlink"/>
  <p:sldLayoutIdLst>
    <p:sldLayoutId id="2147485044" r:id="rId1"/>
    <p:sldLayoutId id="2147485045" r:id="rId2"/>
    <p:sldLayoutId id="2147485046" r:id="rId3"/>
    <p:sldLayoutId id="2147485047" r:id="rId4"/>
    <p:sldLayoutId id="2147485048" r:id="rId5"/>
    <p:sldLayoutId id="2147485049" r:id="rId6"/>
    <p:sldLayoutId id="2147485050" r:id="rId7"/>
    <p:sldLayoutId id="2147485051" r:id="rId8"/>
    <p:sldLayoutId id="2147485052" r:id="rId9"/>
    <p:sldLayoutId id="2147485053" r:id="rId10"/>
    <p:sldLayoutId id="2147485054" r:id="rId11"/>
    <p:sldLayoutId id="2147485055" r:id="rId12"/>
    <p:sldLayoutId id="2147485056" r:id="rId13"/>
    <p:sldLayoutId id="2147485057" r:id="rId14"/>
    <p:sldLayoutId id="2147485058" r:id="rId15"/>
    <p:sldLayoutId id="2147485059" r:id="rId16"/>
    <p:sldLayoutId id="2147485060" r:id="rId17"/>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5"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dirty="0" smtClean="0">
                <a:solidFill>
                  <a:srgbClr val="626469"/>
                </a:solidFill>
              </a:rPr>
              <a:t>Classification: INTERNAL USE ONLY</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6"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943724286"/>
      </p:ext>
    </p:extLst>
  </p:cSld>
  <p:clrMap bg1="lt1" tx1="dk1" bg2="lt2" tx2="dk2" accent1="accent1" accent2="accent2" accent3="accent3" accent4="accent4" accent5="accent5" accent6="accent6" hlink="hlink" folHlink="folHlink"/>
  <p:sldLayoutIdLst>
    <p:sldLayoutId id="2147485075" r:id="rId1"/>
    <p:sldLayoutId id="2147485076" r:id="rId2"/>
    <p:sldLayoutId id="2147485077" r:id="rId3"/>
    <p:sldLayoutId id="2147485078" r:id="rId4"/>
    <p:sldLayoutId id="2147485079" r:id="rId5"/>
    <p:sldLayoutId id="2147485080" r:id="rId6"/>
    <p:sldLayoutId id="2147485081" r:id="rId7"/>
    <p:sldLayoutId id="2147485082" r:id="rId8"/>
    <p:sldLayoutId id="2147485083" r:id="rId9"/>
    <p:sldLayoutId id="2147485084" r:id="rId10"/>
    <p:sldLayoutId id="2147485085" r:id="rId11"/>
    <p:sldLayoutId id="2147485086" r:id="rId12"/>
    <p:sldLayoutId id="2147485128" r:id="rId13"/>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lnSpc>
          <a:spcPct val="110000"/>
        </a:lnSpc>
        <a:spcBef>
          <a:spcPct val="0"/>
        </a:spcBef>
        <a:spcAft>
          <a:spcPts val="12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lnSpc>
          <a:spcPct val="110000"/>
        </a:lnSpc>
        <a:spcBef>
          <a:spcPct val="0"/>
        </a:spcBef>
        <a:spcAft>
          <a:spcPts val="1200"/>
        </a:spcAft>
        <a:buClr>
          <a:schemeClr val="tx2"/>
        </a:buClr>
        <a:buFont typeface="Arial" charset="0"/>
        <a:buChar char="-"/>
        <a:defRPr sz="2000">
          <a:solidFill>
            <a:schemeClr val="tx1"/>
          </a:solidFill>
          <a:latin typeface="+mn-lt"/>
        </a:defRPr>
      </a:lvl2pPr>
      <a:lvl3pPr marL="1144588" indent="-287338" algn="l" defTabSz="957263" rtl="0" eaLnBrk="1" fontAlgn="base" hangingPunct="1">
        <a:lnSpc>
          <a:spcPct val="110000"/>
        </a:lnSpc>
        <a:spcBef>
          <a:spcPct val="0"/>
        </a:spcBef>
        <a:spcAft>
          <a:spcPts val="1200"/>
        </a:spcAft>
        <a:buClr>
          <a:schemeClr val="tx2"/>
        </a:buClr>
        <a:buChar char="•"/>
        <a:defRPr sz="2000">
          <a:solidFill>
            <a:schemeClr val="tx1"/>
          </a:solidFill>
          <a:latin typeface="+mn-lt"/>
        </a:defRPr>
      </a:lvl3pPr>
      <a:lvl4pPr marL="1619250" indent="-295275" algn="l" defTabSz="957263" rtl="0" eaLnBrk="1" fontAlgn="base" hangingPunct="1">
        <a:lnSpc>
          <a:spcPct val="110000"/>
        </a:lnSpc>
        <a:spcBef>
          <a:spcPct val="0"/>
        </a:spcBef>
        <a:spcAft>
          <a:spcPts val="1200"/>
        </a:spcAft>
        <a:buClr>
          <a:schemeClr val="tx2"/>
        </a:buClr>
        <a:buFont typeface="Arial" charset="0"/>
        <a:buChar char="-"/>
        <a:defRPr sz="2000">
          <a:solidFill>
            <a:schemeClr val="tx1"/>
          </a:solidFill>
          <a:latin typeface="+mn-lt"/>
        </a:defRPr>
      </a:lvl4pPr>
      <a:lvl5pPr marL="2093913" indent="-295275" algn="l" defTabSz="957263" rtl="0" eaLnBrk="1" fontAlgn="base" hangingPunct="1">
        <a:lnSpc>
          <a:spcPct val="110000"/>
        </a:lnSpc>
        <a:spcBef>
          <a:spcPct val="0"/>
        </a:spcBef>
        <a:spcAft>
          <a:spcPts val="12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4"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dirty="0" smtClean="0">
                <a:solidFill>
                  <a:srgbClr val="626469"/>
                </a:solidFill>
              </a:rPr>
              <a:t>Classification: INTERNAL USE ONLY</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5"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3010874873"/>
      </p:ext>
    </p:extLst>
  </p:cSld>
  <p:clrMap bg1="lt1" tx1="dk1" bg2="lt2" tx2="dk2" accent1="accent1" accent2="accent2" accent3="accent3" accent4="accent4" accent5="accent5" accent6="accent6" hlink="hlink" folHlink="folHlink"/>
  <p:sldLayoutIdLst>
    <p:sldLayoutId id="2147485089" r:id="rId1"/>
    <p:sldLayoutId id="2147485090" r:id="rId2"/>
    <p:sldLayoutId id="2147485091" r:id="rId3"/>
    <p:sldLayoutId id="2147485092" r:id="rId4"/>
    <p:sldLayoutId id="2147485093" r:id="rId5"/>
    <p:sldLayoutId id="2147485094" r:id="rId6"/>
    <p:sldLayoutId id="2147485095" r:id="rId7"/>
    <p:sldLayoutId id="2147485096" r:id="rId8"/>
    <p:sldLayoutId id="2147485097" r:id="rId9"/>
    <p:sldLayoutId id="2147485098" r:id="rId10"/>
    <p:sldLayoutId id="2147485099" r:id="rId11"/>
    <p:sldLayoutId id="2147485100" r:id="rId12"/>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lnSpc>
          <a:spcPct val="110000"/>
        </a:lnSpc>
        <a:spcBef>
          <a:spcPct val="0"/>
        </a:spcBef>
        <a:spcAft>
          <a:spcPts val="12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lnSpc>
          <a:spcPct val="110000"/>
        </a:lnSpc>
        <a:spcBef>
          <a:spcPct val="0"/>
        </a:spcBef>
        <a:spcAft>
          <a:spcPts val="1200"/>
        </a:spcAft>
        <a:buClr>
          <a:schemeClr val="tx2"/>
        </a:buClr>
        <a:buFont typeface="Arial" charset="0"/>
        <a:buChar char="-"/>
        <a:defRPr sz="2000">
          <a:solidFill>
            <a:schemeClr val="tx1"/>
          </a:solidFill>
          <a:latin typeface="+mn-lt"/>
        </a:defRPr>
      </a:lvl2pPr>
      <a:lvl3pPr marL="1144588" indent="-287338" algn="l" defTabSz="957263" rtl="0" eaLnBrk="1" fontAlgn="base" hangingPunct="1">
        <a:lnSpc>
          <a:spcPct val="110000"/>
        </a:lnSpc>
        <a:spcBef>
          <a:spcPct val="0"/>
        </a:spcBef>
        <a:spcAft>
          <a:spcPts val="1200"/>
        </a:spcAft>
        <a:buClr>
          <a:schemeClr val="tx2"/>
        </a:buClr>
        <a:buChar char="•"/>
        <a:defRPr sz="2000">
          <a:solidFill>
            <a:schemeClr val="tx1"/>
          </a:solidFill>
          <a:latin typeface="+mn-lt"/>
        </a:defRPr>
      </a:lvl3pPr>
      <a:lvl4pPr marL="1619250" indent="-295275" algn="l" defTabSz="957263" rtl="0" eaLnBrk="1" fontAlgn="base" hangingPunct="1">
        <a:lnSpc>
          <a:spcPct val="110000"/>
        </a:lnSpc>
        <a:spcBef>
          <a:spcPct val="0"/>
        </a:spcBef>
        <a:spcAft>
          <a:spcPts val="1200"/>
        </a:spcAft>
        <a:buClr>
          <a:schemeClr val="tx2"/>
        </a:buClr>
        <a:buFont typeface="Arial" charset="0"/>
        <a:buChar char="-"/>
        <a:defRPr sz="2000">
          <a:solidFill>
            <a:schemeClr val="tx1"/>
          </a:solidFill>
          <a:latin typeface="+mn-lt"/>
        </a:defRPr>
      </a:lvl4pPr>
      <a:lvl5pPr marL="2093913" indent="-295275" algn="l" defTabSz="957263" rtl="0" eaLnBrk="1" fontAlgn="base" hangingPunct="1">
        <a:lnSpc>
          <a:spcPct val="110000"/>
        </a:lnSpc>
        <a:spcBef>
          <a:spcPct val="0"/>
        </a:spcBef>
        <a:spcAft>
          <a:spcPts val="12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3"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dirty="0" smtClean="0">
                <a:solidFill>
                  <a:srgbClr val="626469"/>
                </a:solidFill>
              </a:rPr>
              <a:t>Classification: INTERNAL USE ONLY</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4"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126184022"/>
      </p:ext>
    </p:extLst>
  </p:cSld>
  <p:clrMap bg1="lt1" tx1="dk1" bg2="lt2" tx2="dk2" accent1="accent1" accent2="accent2" accent3="accent3" accent4="accent4" accent5="accent5" accent6="accent6" hlink="hlink" folHlink="folHlink"/>
  <p:sldLayoutIdLst>
    <p:sldLayoutId id="2147485102" r:id="rId1"/>
    <p:sldLayoutId id="2147485103" r:id="rId2"/>
    <p:sldLayoutId id="2147485104" r:id="rId3"/>
    <p:sldLayoutId id="2147485105" r:id="rId4"/>
    <p:sldLayoutId id="2147485106" r:id="rId5"/>
    <p:sldLayoutId id="2147485107" r:id="rId6"/>
    <p:sldLayoutId id="2147485108" r:id="rId7"/>
    <p:sldLayoutId id="2147485109" r:id="rId8"/>
    <p:sldLayoutId id="2147485110" r:id="rId9"/>
    <p:sldLayoutId id="2147485111" r:id="rId10"/>
    <p:sldLayoutId id="2147485112" r:id="rId11"/>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1026" name="Picture 7" descr="ppt_land_print_2"/>
          <p:cNvPicPr>
            <a:picLocks noChangeAspect="1" noChangeArrowheads="1"/>
          </p:cNvPicPr>
          <p:nvPr/>
        </p:nvPicPr>
        <p:blipFill>
          <a:blip r:embed="rId8" cstate="print"/>
          <a:srcRect/>
          <a:stretch>
            <a:fillRect/>
          </a:stretch>
        </p:blipFill>
        <p:spPr bwMode="auto">
          <a:xfrm>
            <a:off x="0" y="6173788"/>
            <a:ext cx="9144000" cy="688975"/>
          </a:xfrm>
          <a:prstGeom prst="rect">
            <a:avLst/>
          </a:prstGeom>
          <a:noFill/>
          <a:ln w="9525">
            <a:noFill/>
            <a:miter lim="800000"/>
            <a:headEnd/>
            <a:tailEnd/>
          </a:ln>
        </p:spPr>
      </p:pic>
      <p:sp>
        <p:nvSpPr>
          <p:cNvPr id="1027"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en-US" smtClean="0"/>
              <a:t>Titelmasterformat durch Klicken bearbeiten</a:t>
            </a:r>
          </a:p>
        </p:txBody>
      </p:sp>
      <p:sp>
        <p:nvSpPr>
          <p:cNvPr id="1028"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smtClean="0"/>
              <a:t>Textmasterformate durch Klicken bearbeiten</a:t>
            </a:r>
          </a:p>
          <a:p>
            <a:pPr lvl="1"/>
            <a:r>
              <a:rPr lang="en-US" altLang="en-US" smtClean="0"/>
              <a:t>Zweite Ebene</a:t>
            </a:r>
          </a:p>
          <a:p>
            <a:pPr lvl="2"/>
            <a:r>
              <a:rPr lang="en-US" altLang="en-US" smtClean="0"/>
              <a:t>Dritte Ebene</a:t>
            </a:r>
          </a:p>
          <a:p>
            <a:pPr lvl="3"/>
            <a:r>
              <a:rPr lang="en-US" altLang="en-US" smtClean="0"/>
              <a:t>Vierte Ebene</a:t>
            </a:r>
          </a:p>
          <a:p>
            <a:pPr lvl="4"/>
            <a:r>
              <a:rPr lang="en-US" altLang="en-US" smtClean="0"/>
              <a:t>Fünfte Ebene</a:t>
            </a: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p:spPr>
        <p:txBody>
          <a:bodyPr lIns="91402" tIns="45701" rIns="91402" bIns="45701"/>
          <a:lstStyle/>
          <a:p>
            <a:pPr defTabSz="912813" eaLnBrk="0" hangingPunct="0">
              <a:spcAft>
                <a:spcPts val="600"/>
              </a:spcAft>
              <a:tabLst>
                <a:tab pos="441325" algn="l"/>
              </a:tabLst>
              <a:defRPr/>
            </a:pPr>
            <a:fld id="{58377B04-893C-4DAF-A616-4C79FD5AA9A5}" type="slidenum">
              <a:rPr lang="en-US" sz="1200">
                <a:solidFill>
                  <a:srgbClr val="626469"/>
                </a:solidFill>
                <a:cs typeface="Arial" charset="0"/>
              </a:rPr>
              <a:pPr defTabSz="912813" eaLnBrk="0" hangingPunct="0">
                <a:spcAft>
                  <a:spcPts val="600"/>
                </a:spcAft>
                <a:tabLst>
                  <a:tab pos="441325" algn="l"/>
                </a:tabLst>
                <a:defRPr/>
              </a:pPr>
              <a:t>‹#›</a:t>
            </a:fld>
            <a:r>
              <a:rPr lang="en-US" sz="1200" dirty="0">
                <a:solidFill>
                  <a:srgbClr val="626469"/>
                </a:solidFill>
                <a:cs typeface="Arial" charset="0"/>
              </a:rPr>
              <a:t>	</a:t>
            </a:r>
          </a:p>
        </p:txBody>
      </p:sp>
      <p:pic>
        <p:nvPicPr>
          <p:cNvPr id="1030" name="Picture 8" descr="new logo"/>
          <p:cNvPicPr>
            <a:picLocks noChangeAspect="1" noChangeArrowheads="1"/>
          </p:cNvPicPr>
          <p:nvPr/>
        </p:nvPicPr>
        <p:blipFill>
          <a:blip r:embed="rId9" cstate="print"/>
          <a:srcRect/>
          <a:stretch>
            <a:fillRect/>
          </a:stretch>
        </p:blipFill>
        <p:spPr bwMode="auto">
          <a:xfrm>
            <a:off x="7489825" y="6403975"/>
            <a:ext cx="1174750" cy="350838"/>
          </a:xfrm>
          <a:prstGeom prst="rect">
            <a:avLst/>
          </a:prstGeom>
          <a:noFill/>
          <a:ln w="9525">
            <a:noFill/>
            <a:miter lim="800000"/>
            <a:headEnd/>
            <a:tailEnd/>
          </a:ln>
        </p:spPr>
      </p:pic>
      <p:sp>
        <p:nvSpPr>
          <p:cNvPr id="8" name="TextBox 7"/>
          <p:cNvSpPr txBox="1">
            <a:spLocks noChangeArrowheads="1"/>
          </p:cNvSpPr>
          <p:nvPr/>
        </p:nvSpPr>
        <p:spPr bwMode="auto">
          <a:xfrm>
            <a:off x="928688" y="6429375"/>
            <a:ext cx="5429250" cy="428625"/>
          </a:xfrm>
          <a:prstGeom prst="rect">
            <a:avLst/>
          </a:prstGeom>
          <a:noFill/>
          <a:ln w="9525">
            <a:noFill/>
            <a:miter lim="800000"/>
            <a:headEnd/>
            <a:tailEnd/>
          </a:ln>
        </p:spPr>
        <p:txBody>
          <a:bodyPr lIns="91402" tIns="45701" rIns="91402" bIns="45701" anchor="ctr"/>
          <a:lstStyle/>
          <a:p>
            <a:pPr defTabSz="912813">
              <a:spcAft>
                <a:spcPts val="600"/>
              </a:spcAft>
              <a:defRPr/>
            </a:pPr>
            <a:r>
              <a:rPr lang="en-US" dirty="0">
                <a:solidFill>
                  <a:srgbClr val="626469"/>
                </a:solidFill>
                <a:cs typeface="Arial" charset="0"/>
              </a:rPr>
              <a:t>Classification: SECRET</a:t>
            </a:r>
          </a:p>
        </p:txBody>
      </p:sp>
    </p:spTree>
  </p:cSld>
  <p:clrMap bg1="lt1" tx1="dk1" bg2="lt2" tx2="dk2" accent1="accent1" accent2="accent2" accent3="accent3" accent4="accent4" accent5="accent5" accent6="accent6" hlink="hlink" folHlink="folHlink"/>
  <p:sldLayoutIdLst>
    <p:sldLayoutId id="2147484782" r:id="rId1"/>
    <p:sldLayoutId id="2147484783" r:id="rId2"/>
    <p:sldLayoutId id="2147484784" r:id="rId3"/>
    <p:sldLayoutId id="2147484785" r:id="rId4"/>
    <p:sldLayoutId id="2147484786" r:id="rId5"/>
    <p:sldLayoutId id="2147484787" r:id="rId6"/>
  </p:sldLayoutIdLst>
  <p:transition>
    <p:wipe dir="r"/>
  </p:transition>
  <p:hf sldNum="0" hdr="0" dt="0"/>
  <p:txStyles>
    <p:titleStyle>
      <a:lvl1pPr algn="l" defTabSz="957263" rtl="0" eaLnBrk="0" fontAlgn="base" hangingPunct="0">
        <a:lnSpc>
          <a:spcPct val="90000"/>
        </a:lnSpc>
        <a:spcBef>
          <a:spcPct val="0"/>
        </a:spcBef>
        <a:spcAft>
          <a:spcPct val="0"/>
        </a:spcAft>
        <a:defRPr sz="2200" b="1">
          <a:solidFill>
            <a:schemeClr val="tx2"/>
          </a:solidFill>
          <a:latin typeface="+mj-lt"/>
          <a:ea typeface="+mj-ea"/>
          <a:cs typeface="+mj-cs"/>
        </a:defRPr>
      </a:lvl1pPr>
      <a:lvl2pPr algn="l" defTabSz="957263" rtl="0" eaLnBrk="0" fontAlgn="base" hangingPunct="0">
        <a:lnSpc>
          <a:spcPct val="90000"/>
        </a:lnSpc>
        <a:spcBef>
          <a:spcPct val="0"/>
        </a:spcBef>
        <a:spcAft>
          <a:spcPct val="0"/>
        </a:spcAft>
        <a:defRPr sz="2200" b="1">
          <a:solidFill>
            <a:schemeClr val="tx2"/>
          </a:solidFill>
          <a:latin typeface="Arial" charset="0"/>
        </a:defRPr>
      </a:lvl2pPr>
      <a:lvl3pPr algn="l" defTabSz="957263" rtl="0" eaLnBrk="0" fontAlgn="base" hangingPunct="0">
        <a:lnSpc>
          <a:spcPct val="90000"/>
        </a:lnSpc>
        <a:spcBef>
          <a:spcPct val="0"/>
        </a:spcBef>
        <a:spcAft>
          <a:spcPct val="0"/>
        </a:spcAft>
        <a:defRPr sz="2200" b="1">
          <a:solidFill>
            <a:schemeClr val="tx2"/>
          </a:solidFill>
          <a:latin typeface="Arial" charset="0"/>
        </a:defRPr>
      </a:lvl3pPr>
      <a:lvl4pPr algn="l" defTabSz="957263" rtl="0" eaLnBrk="0" fontAlgn="base" hangingPunct="0">
        <a:lnSpc>
          <a:spcPct val="90000"/>
        </a:lnSpc>
        <a:spcBef>
          <a:spcPct val="0"/>
        </a:spcBef>
        <a:spcAft>
          <a:spcPct val="0"/>
        </a:spcAft>
        <a:defRPr sz="2200" b="1">
          <a:solidFill>
            <a:schemeClr val="tx2"/>
          </a:solidFill>
          <a:latin typeface="Arial" charset="0"/>
        </a:defRPr>
      </a:lvl4pPr>
      <a:lvl5pPr algn="l" defTabSz="957263" rtl="0" eaLnBrk="0" fontAlgn="base" hangingPunct="0">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0" fontAlgn="base" hangingPunct="0">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4688" indent="-274638" algn="l" defTabSz="957263" rtl="0" eaLnBrk="0" fontAlgn="base" hangingPunct="0">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0" fontAlgn="base" hangingPunct="0">
        <a:spcBef>
          <a:spcPct val="0"/>
        </a:spcBef>
        <a:spcAft>
          <a:spcPct val="25000"/>
        </a:spcAft>
        <a:buClr>
          <a:schemeClr val="tx2"/>
        </a:buClr>
        <a:buChar char="•"/>
        <a:defRPr sz="2000">
          <a:solidFill>
            <a:schemeClr val="tx1"/>
          </a:solidFill>
          <a:latin typeface="+mn-lt"/>
        </a:defRPr>
      </a:lvl3pPr>
      <a:lvl4pPr marL="1619250" indent="-295275" algn="l" defTabSz="957263" rtl="0" eaLnBrk="0" fontAlgn="base" hangingPunct="0">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0" fontAlgn="base" hangingPunct="0">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1026" name="Picture 7" descr="ppt_land_print_2"/>
          <p:cNvPicPr>
            <a:picLocks noChangeAspect="1" noChangeArrowheads="1"/>
          </p:cNvPicPr>
          <p:nvPr/>
        </p:nvPicPr>
        <p:blipFill>
          <a:blip r:embed="rId8" cstate="print"/>
          <a:srcRect/>
          <a:stretch>
            <a:fillRect/>
          </a:stretch>
        </p:blipFill>
        <p:spPr bwMode="auto">
          <a:xfrm>
            <a:off x="0" y="6173788"/>
            <a:ext cx="9144000" cy="688975"/>
          </a:xfrm>
          <a:prstGeom prst="rect">
            <a:avLst/>
          </a:prstGeom>
          <a:noFill/>
          <a:ln w="9525">
            <a:noFill/>
            <a:miter lim="800000"/>
            <a:headEnd/>
            <a:tailEnd/>
          </a:ln>
        </p:spPr>
      </p:pic>
      <p:sp>
        <p:nvSpPr>
          <p:cNvPr id="1027"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en-US" smtClean="0"/>
              <a:t>Titelmasterformat durch Klicken bearbeiten</a:t>
            </a:r>
          </a:p>
        </p:txBody>
      </p:sp>
      <p:sp>
        <p:nvSpPr>
          <p:cNvPr id="1028"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smtClean="0"/>
              <a:t>Textmasterformate durch Klicken bearbeiten</a:t>
            </a:r>
          </a:p>
          <a:p>
            <a:pPr lvl="1"/>
            <a:r>
              <a:rPr lang="en-US" altLang="en-US" smtClean="0"/>
              <a:t>Zweite Ebene</a:t>
            </a:r>
          </a:p>
          <a:p>
            <a:pPr lvl="2"/>
            <a:r>
              <a:rPr lang="en-US" altLang="en-US" smtClean="0"/>
              <a:t>Dritte Ebene</a:t>
            </a:r>
          </a:p>
          <a:p>
            <a:pPr lvl="3"/>
            <a:r>
              <a:rPr lang="en-US" altLang="en-US" smtClean="0"/>
              <a:t>Vierte Ebene</a:t>
            </a:r>
          </a:p>
          <a:p>
            <a:pPr lvl="4"/>
            <a:r>
              <a:rPr lang="en-US" altLang="en-US" smtClean="0"/>
              <a:t>Fünfte Ebene</a:t>
            </a: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p:spPr>
        <p:txBody>
          <a:bodyPr lIns="91402" tIns="45701" rIns="91402" bIns="45701"/>
          <a:lstStyle/>
          <a:p>
            <a:pPr defTabSz="912813" eaLnBrk="0" hangingPunct="0">
              <a:spcAft>
                <a:spcPts val="600"/>
              </a:spcAft>
              <a:tabLst>
                <a:tab pos="441325" algn="l"/>
              </a:tabLst>
              <a:defRPr/>
            </a:pPr>
            <a:fld id="{58377B04-893C-4DAF-A616-4C79FD5AA9A5}" type="slidenum">
              <a:rPr lang="en-US" sz="1200">
                <a:solidFill>
                  <a:srgbClr val="626469"/>
                </a:solidFill>
                <a:cs typeface="Arial" charset="0"/>
              </a:rPr>
              <a:pPr defTabSz="912813" eaLnBrk="0" hangingPunct="0">
                <a:spcAft>
                  <a:spcPts val="600"/>
                </a:spcAft>
                <a:tabLst>
                  <a:tab pos="441325" algn="l"/>
                </a:tabLst>
                <a:defRPr/>
              </a:pPr>
              <a:t>‹#›</a:t>
            </a:fld>
            <a:r>
              <a:rPr lang="en-US" sz="1200" dirty="0">
                <a:solidFill>
                  <a:srgbClr val="626469"/>
                </a:solidFill>
                <a:cs typeface="Arial" charset="0"/>
              </a:rPr>
              <a:t>	</a:t>
            </a:r>
          </a:p>
        </p:txBody>
      </p:sp>
      <p:pic>
        <p:nvPicPr>
          <p:cNvPr id="1030" name="Picture 8" descr="new logo"/>
          <p:cNvPicPr>
            <a:picLocks noChangeAspect="1" noChangeArrowheads="1"/>
          </p:cNvPicPr>
          <p:nvPr/>
        </p:nvPicPr>
        <p:blipFill>
          <a:blip r:embed="rId9" cstate="print"/>
          <a:srcRect/>
          <a:stretch>
            <a:fillRect/>
          </a:stretch>
        </p:blipFill>
        <p:spPr bwMode="auto">
          <a:xfrm>
            <a:off x="7489825" y="6403975"/>
            <a:ext cx="1174750" cy="350838"/>
          </a:xfrm>
          <a:prstGeom prst="rect">
            <a:avLst/>
          </a:prstGeom>
          <a:noFill/>
          <a:ln w="9525">
            <a:noFill/>
            <a:miter lim="800000"/>
            <a:headEnd/>
            <a:tailEnd/>
          </a:ln>
        </p:spPr>
      </p:pic>
      <p:sp>
        <p:nvSpPr>
          <p:cNvPr id="8" name="TextBox 7"/>
          <p:cNvSpPr txBox="1">
            <a:spLocks noChangeArrowheads="1"/>
          </p:cNvSpPr>
          <p:nvPr/>
        </p:nvSpPr>
        <p:spPr bwMode="auto">
          <a:xfrm>
            <a:off x="928688" y="6429375"/>
            <a:ext cx="5429250" cy="428625"/>
          </a:xfrm>
          <a:prstGeom prst="rect">
            <a:avLst/>
          </a:prstGeom>
          <a:noFill/>
          <a:ln w="9525">
            <a:noFill/>
            <a:miter lim="800000"/>
            <a:headEnd/>
            <a:tailEnd/>
          </a:ln>
        </p:spPr>
        <p:txBody>
          <a:bodyPr lIns="91402" tIns="45701" rIns="91402" bIns="45701" anchor="ctr"/>
          <a:lstStyle/>
          <a:p>
            <a:pPr defTabSz="912813">
              <a:spcAft>
                <a:spcPts val="600"/>
              </a:spcAft>
              <a:defRPr/>
            </a:pPr>
            <a:r>
              <a:rPr lang="en-US" dirty="0">
                <a:solidFill>
                  <a:srgbClr val="626469"/>
                </a:solidFill>
                <a:cs typeface="Arial" charset="0"/>
              </a:rPr>
              <a:t>Classification: SECRET</a:t>
            </a:r>
          </a:p>
        </p:txBody>
      </p:sp>
    </p:spTree>
  </p:cSld>
  <p:clrMap bg1="lt1" tx1="dk1" bg2="lt2" tx2="dk2" accent1="accent1" accent2="accent2" accent3="accent3" accent4="accent4" accent5="accent5" accent6="accent6" hlink="hlink" folHlink="folHlink"/>
  <p:sldLayoutIdLst>
    <p:sldLayoutId id="2147484789" r:id="rId1"/>
    <p:sldLayoutId id="2147484790" r:id="rId2"/>
    <p:sldLayoutId id="2147484791" r:id="rId3"/>
    <p:sldLayoutId id="2147484792" r:id="rId4"/>
    <p:sldLayoutId id="2147484793" r:id="rId5"/>
    <p:sldLayoutId id="2147484794" r:id="rId6"/>
  </p:sldLayoutIdLst>
  <p:transition>
    <p:wipe dir="r"/>
  </p:transition>
  <p:hf sldNum="0" hdr="0" dt="0"/>
  <p:txStyles>
    <p:titleStyle>
      <a:lvl1pPr algn="l" defTabSz="957263" rtl="0" eaLnBrk="0" fontAlgn="base" hangingPunct="0">
        <a:lnSpc>
          <a:spcPct val="90000"/>
        </a:lnSpc>
        <a:spcBef>
          <a:spcPct val="0"/>
        </a:spcBef>
        <a:spcAft>
          <a:spcPct val="0"/>
        </a:spcAft>
        <a:defRPr sz="2200" b="1">
          <a:solidFill>
            <a:schemeClr val="tx2"/>
          </a:solidFill>
          <a:latin typeface="+mj-lt"/>
          <a:ea typeface="+mj-ea"/>
          <a:cs typeface="+mj-cs"/>
        </a:defRPr>
      </a:lvl1pPr>
      <a:lvl2pPr algn="l" defTabSz="957263" rtl="0" eaLnBrk="0" fontAlgn="base" hangingPunct="0">
        <a:lnSpc>
          <a:spcPct val="90000"/>
        </a:lnSpc>
        <a:spcBef>
          <a:spcPct val="0"/>
        </a:spcBef>
        <a:spcAft>
          <a:spcPct val="0"/>
        </a:spcAft>
        <a:defRPr sz="2200" b="1">
          <a:solidFill>
            <a:schemeClr val="tx2"/>
          </a:solidFill>
          <a:latin typeface="Arial" charset="0"/>
        </a:defRPr>
      </a:lvl2pPr>
      <a:lvl3pPr algn="l" defTabSz="957263" rtl="0" eaLnBrk="0" fontAlgn="base" hangingPunct="0">
        <a:lnSpc>
          <a:spcPct val="90000"/>
        </a:lnSpc>
        <a:spcBef>
          <a:spcPct val="0"/>
        </a:spcBef>
        <a:spcAft>
          <a:spcPct val="0"/>
        </a:spcAft>
        <a:defRPr sz="2200" b="1">
          <a:solidFill>
            <a:schemeClr val="tx2"/>
          </a:solidFill>
          <a:latin typeface="Arial" charset="0"/>
        </a:defRPr>
      </a:lvl3pPr>
      <a:lvl4pPr algn="l" defTabSz="957263" rtl="0" eaLnBrk="0" fontAlgn="base" hangingPunct="0">
        <a:lnSpc>
          <a:spcPct val="90000"/>
        </a:lnSpc>
        <a:spcBef>
          <a:spcPct val="0"/>
        </a:spcBef>
        <a:spcAft>
          <a:spcPct val="0"/>
        </a:spcAft>
        <a:defRPr sz="2200" b="1">
          <a:solidFill>
            <a:schemeClr val="tx2"/>
          </a:solidFill>
          <a:latin typeface="Arial" charset="0"/>
        </a:defRPr>
      </a:lvl4pPr>
      <a:lvl5pPr algn="l" defTabSz="957263" rtl="0" eaLnBrk="0" fontAlgn="base" hangingPunct="0">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0" fontAlgn="base" hangingPunct="0">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4688" indent="-274638" algn="l" defTabSz="957263" rtl="0" eaLnBrk="0" fontAlgn="base" hangingPunct="0">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0" fontAlgn="base" hangingPunct="0">
        <a:spcBef>
          <a:spcPct val="0"/>
        </a:spcBef>
        <a:spcAft>
          <a:spcPct val="25000"/>
        </a:spcAft>
        <a:buClr>
          <a:schemeClr val="tx2"/>
        </a:buClr>
        <a:buChar char="•"/>
        <a:defRPr sz="2000">
          <a:solidFill>
            <a:schemeClr val="tx1"/>
          </a:solidFill>
          <a:latin typeface="+mn-lt"/>
        </a:defRPr>
      </a:lvl3pPr>
      <a:lvl4pPr marL="1619250" indent="-295275" algn="l" defTabSz="957263" rtl="0" eaLnBrk="0" fontAlgn="base" hangingPunct="0">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0" fontAlgn="base" hangingPunct="0">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3"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fontAlgn="auto">
              <a:spcBef>
                <a:spcPts val="0"/>
              </a:spcBef>
            </a:pPr>
            <a:endParaRPr lang="en-GB">
              <a:solidFill>
                <a:srgbClr val="626469"/>
              </a:solidFill>
              <a:latin typeface="Aria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fontAlgn="auto" hangingPunct="0">
              <a:spcBef>
                <a:spcPts val="0"/>
              </a:spcBef>
              <a:spcAft>
                <a:spcPts val="600"/>
              </a:spcAft>
              <a:tabLst>
                <a:tab pos="441325" algn="l"/>
              </a:tabLst>
              <a:defRPr/>
            </a:pPr>
            <a:fld id="{974B40FB-612E-435B-B627-187A21F7DD64}" type="slidenum">
              <a:rPr lang="en-US" sz="1200">
                <a:solidFill>
                  <a:srgbClr val="626469"/>
                </a:solidFill>
                <a:latin typeface="Arial"/>
              </a:rPr>
              <a:pPr eaLnBrk="0" fontAlgn="auto" hangingPunct="0">
                <a:spcBef>
                  <a:spcPts val="0"/>
                </a:spcBef>
                <a:spcAft>
                  <a:spcPts val="600"/>
                </a:spcAft>
                <a:tabLst>
                  <a:tab pos="441325" algn="l"/>
                </a:tabLst>
                <a:defRPr/>
              </a:pPr>
              <a:t>‹#›</a:t>
            </a:fld>
            <a:r>
              <a:rPr lang="en-US" sz="1200" dirty="0">
                <a:solidFill>
                  <a:srgbClr val="626469"/>
                </a:solidFill>
                <a:latin typeface="Arial"/>
              </a:rPr>
              <a:t>	</a:t>
            </a:r>
          </a:p>
        </p:txBody>
      </p:sp>
      <p:pic>
        <p:nvPicPr>
          <p:cNvPr id="3079" name="Picture 8" descr="new logo"/>
          <p:cNvPicPr>
            <a:picLocks noChangeAspect="1" noChangeArrowheads="1"/>
          </p:cNvPicPr>
          <p:nvPr/>
        </p:nvPicPr>
        <p:blipFill>
          <a:blip r:embed="rId14"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1326400490"/>
      </p:ext>
    </p:extLst>
  </p:cSld>
  <p:clrMap bg1="lt1" tx1="dk1" bg2="lt2" tx2="dk2" accent1="accent1" accent2="accent2" accent3="accent3" accent4="accent4" accent5="accent5" accent6="accent6" hlink="hlink" folHlink="folHlink"/>
  <p:sldLayoutIdLst>
    <p:sldLayoutId id="2147484810" r:id="rId1"/>
    <p:sldLayoutId id="2147484811" r:id="rId2"/>
    <p:sldLayoutId id="2147484812" r:id="rId3"/>
    <p:sldLayoutId id="2147484813" r:id="rId4"/>
    <p:sldLayoutId id="2147484814" r:id="rId5"/>
    <p:sldLayoutId id="2147484815" r:id="rId6"/>
    <p:sldLayoutId id="2147484816" r:id="rId7"/>
    <p:sldLayoutId id="2147484817" r:id="rId8"/>
    <p:sldLayoutId id="2147484818" r:id="rId9"/>
    <p:sldLayoutId id="2147484819" r:id="rId10"/>
    <p:sldLayoutId id="2147484820" r:id="rId11"/>
  </p:sldLayoutIdLst>
  <p:transition>
    <p:wipe dir="r"/>
  </p:transition>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5122" name="Picture 7" descr="ppt_land_print_2"/>
          <p:cNvPicPr>
            <a:picLocks noChangeAspect="1" noChangeArrowheads="1"/>
          </p:cNvPicPr>
          <p:nvPr/>
        </p:nvPicPr>
        <p:blipFill>
          <a:blip r:embed="rId13" cstate="print"/>
          <a:srcRect/>
          <a:stretch>
            <a:fillRect/>
          </a:stretch>
        </p:blipFill>
        <p:spPr bwMode="auto">
          <a:xfrm>
            <a:off x="0" y="6173788"/>
            <a:ext cx="9144000" cy="688975"/>
          </a:xfrm>
          <a:prstGeom prst="rect">
            <a:avLst/>
          </a:prstGeom>
          <a:noFill/>
          <a:ln w="9525">
            <a:noFill/>
            <a:miter lim="800000"/>
            <a:headEnd/>
            <a:tailEnd/>
          </a:ln>
        </p:spPr>
      </p:pic>
      <p:sp>
        <p:nvSpPr>
          <p:cNvPr id="5123"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en-US" smtClean="0"/>
              <a:t>Click to edit Master title style</a:t>
            </a:r>
          </a:p>
        </p:txBody>
      </p:sp>
      <p:sp>
        <p:nvSpPr>
          <p:cNvPr id="5124"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7173" name="Rectangle 5"/>
          <p:cNvSpPr>
            <a:spLocks noGrp="1" noChangeArrowheads="1"/>
          </p:cNvSpPr>
          <p:nvPr>
            <p:ph type="ftr" sz="quarter" idx="3"/>
          </p:nvPr>
        </p:nvSpPr>
        <p:spPr bwMode="auto">
          <a:xfrm>
            <a:off x="792163" y="6483350"/>
            <a:ext cx="5753100" cy="376238"/>
          </a:xfrm>
          <a:prstGeom prst="rect">
            <a:avLst/>
          </a:prstGeom>
          <a:noFill/>
          <a:ln w="9525">
            <a:noFill/>
            <a:miter lim="800000"/>
            <a:headEnd/>
            <a:tailEnd/>
          </a:ln>
          <a:effectLst/>
        </p:spPr>
        <p:txBody>
          <a:bodyPr vert="horz" wrap="square" lIns="0" tIns="45720" rIns="91440" bIns="45720" numCol="1" anchor="t" anchorCtr="0" compatLnSpc="1">
            <a:prstTxWarp prst="textNoShape">
              <a:avLst/>
            </a:prstTxWarp>
            <a:normAutofit/>
          </a:bodyPr>
          <a:lstStyle>
            <a:lvl1pPr eaLnBrk="0" hangingPunct="0">
              <a:spcAft>
                <a:spcPts val="600"/>
              </a:spcAft>
              <a:tabLst>
                <a:tab pos="441325" algn="l"/>
              </a:tabLst>
              <a:defRPr sz="1200"/>
            </a:lvl1pPr>
          </a:lstStyle>
          <a:p>
            <a:pPr>
              <a:defRPr/>
            </a:pPr>
            <a:r>
              <a:rPr lang="en-US" dirty="0" smtClean="0">
                <a:solidFill>
                  <a:srgbClr val="626469"/>
                </a:solidFill>
              </a:rPr>
              <a:t>Classification: Confidential</a:t>
            </a: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1E07F756-A856-46B9-BF0C-58E4DEFCD68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5127" name="Picture 8" descr="new logo"/>
          <p:cNvPicPr>
            <a:picLocks noChangeAspect="1" noChangeArrowheads="1"/>
          </p:cNvPicPr>
          <p:nvPr/>
        </p:nvPicPr>
        <p:blipFill>
          <a:blip r:embed="rId14"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2477041363"/>
      </p:ext>
    </p:extLst>
  </p:cSld>
  <p:clrMap bg1="lt1" tx1="dk1" bg2="lt2" tx2="dk2" accent1="accent1" accent2="accent2" accent3="accent3" accent4="accent4" accent5="accent5" accent6="accent6" hlink="hlink" folHlink="folHlink"/>
  <p:sldLayoutIdLst>
    <p:sldLayoutId id="2147484822" r:id="rId1"/>
    <p:sldLayoutId id="2147484823" r:id="rId2"/>
    <p:sldLayoutId id="2147484824" r:id="rId3"/>
    <p:sldLayoutId id="2147484825" r:id="rId4"/>
    <p:sldLayoutId id="2147484826" r:id="rId5"/>
    <p:sldLayoutId id="2147484827" r:id="rId6"/>
    <p:sldLayoutId id="2147484828" r:id="rId7"/>
    <p:sldLayoutId id="2147484829" r:id="rId8"/>
    <p:sldLayoutId id="2147484830" r:id="rId9"/>
    <p:sldLayoutId id="2147484831" r:id="rId10"/>
    <p:sldLayoutId id="2147484832" r:id="rId11"/>
  </p:sldLayoutIdLst>
  <p:transition>
    <p:wipe dir="r"/>
  </p:transition>
  <p:txStyles>
    <p:titleStyle>
      <a:lvl1pPr algn="l" defTabSz="957263" rtl="0" eaLnBrk="0" fontAlgn="base" hangingPunct="0">
        <a:lnSpc>
          <a:spcPct val="90000"/>
        </a:lnSpc>
        <a:spcBef>
          <a:spcPct val="0"/>
        </a:spcBef>
        <a:spcAft>
          <a:spcPct val="0"/>
        </a:spcAft>
        <a:defRPr sz="2200" b="1">
          <a:solidFill>
            <a:schemeClr val="tx2"/>
          </a:solidFill>
          <a:latin typeface="+mj-lt"/>
          <a:ea typeface="+mj-ea"/>
          <a:cs typeface="+mj-cs"/>
        </a:defRPr>
      </a:lvl1pPr>
      <a:lvl2pPr algn="l" defTabSz="957263" rtl="0" eaLnBrk="0" fontAlgn="base" hangingPunct="0">
        <a:lnSpc>
          <a:spcPct val="90000"/>
        </a:lnSpc>
        <a:spcBef>
          <a:spcPct val="0"/>
        </a:spcBef>
        <a:spcAft>
          <a:spcPct val="0"/>
        </a:spcAft>
        <a:defRPr sz="2200" b="1">
          <a:solidFill>
            <a:schemeClr val="tx2"/>
          </a:solidFill>
          <a:latin typeface="Arial" charset="0"/>
        </a:defRPr>
      </a:lvl2pPr>
      <a:lvl3pPr algn="l" defTabSz="957263" rtl="0" eaLnBrk="0" fontAlgn="base" hangingPunct="0">
        <a:lnSpc>
          <a:spcPct val="90000"/>
        </a:lnSpc>
        <a:spcBef>
          <a:spcPct val="0"/>
        </a:spcBef>
        <a:spcAft>
          <a:spcPct val="0"/>
        </a:spcAft>
        <a:defRPr sz="2200" b="1">
          <a:solidFill>
            <a:schemeClr val="tx2"/>
          </a:solidFill>
          <a:latin typeface="Arial" charset="0"/>
        </a:defRPr>
      </a:lvl3pPr>
      <a:lvl4pPr algn="l" defTabSz="957263" rtl="0" eaLnBrk="0" fontAlgn="base" hangingPunct="0">
        <a:lnSpc>
          <a:spcPct val="90000"/>
        </a:lnSpc>
        <a:spcBef>
          <a:spcPct val="0"/>
        </a:spcBef>
        <a:spcAft>
          <a:spcPct val="0"/>
        </a:spcAft>
        <a:defRPr sz="2200" b="1">
          <a:solidFill>
            <a:schemeClr val="tx2"/>
          </a:solidFill>
          <a:latin typeface="Arial" charset="0"/>
        </a:defRPr>
      </a:lvl4pPr>
      <a:lvl5pPr algn="l" defTabSz="957263" rtl="0" eaLnBrk="0" fontAlgn="base" hangingPunct="0">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0" fontAlgn="base" hangingPunct="0">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0" fontAlgn="base" hangingPunct="0">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0" fontAlgn="base" hangingPunct="0">
        <a:spcBef>
          <a:spcPct val="0"/>
        </a:spcBef>
        <a:spcAft>
          <a:spcPct val="25000"/>
        </a:spcAft>
        <a:buClr>
          <a:schemeClr val="tx2"/>
        </a:buClr>
        <a:buChar char="•"/>
        <a:defRPr sz="2000">
          <a:solidFill>
            <a:schemeClr val="tx1"/>
          </a:solidFill>
          <a:latin typeface="+mn-lt"/>
        </a:defRPr>
      </a:lvl3pPr>
      <a:lvl4pPr marL="1619250" indent="-295275" algn="l" defTabSz="957263" rtl="0" eaLnBrk="0" fontAlgn="base" hangingPunct="0">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0" fontAlgn="base" hangingPunct="0">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3" cstate="print"/>
          <a:srcRect/>
          <a:stretch>
            <a:fillRect/>
          </a:stretch>
        </p:blipFill>
        <p:spPr bwMode="auto">
          <a:xfrm>
            <a:off x="0" y="6173788"/>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3"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600"/>
            </a:lvl1pPr>
          </a:lstStyle>
          <a:p>
            <a:pPr>
              <a:defRPr/>
            </a:pPr>
            <a:r>
              <a:rPr lang="en-US" dirty="0" smtClean="0">
                <a:solidFill>
                  <a:srgbClr val="626469"/>
                </a:solidFill>
              </a:rPr>
              <a:t>Classification: SECRET</a:t>
            </a:r>
            <a:endParaRPr lang="en-US" dirty="0">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rPr>
              <a:pPr eaLnBrk="0" hangingPunct="0">
                <a:spcAft>
                  <a:spcPts val="600"/>
                </a:spcAft>
                <a:tabLst>
                  <a:tab pos="441325" algn="l"/>
                </a:tabLst>
                <a:defRPr/>
              </a:pPr>
              <a:t>‹#›</a:t>
            </a:fld>
            <a:r>
              <a:rPr lang="en-US" sz="1200" dirty="0">
                <a:solidFill>
                  <a:srgbClr val="626469"/>
                </a:solidFill>
              </a:rPr>
              <a:t>	</a:t>
            </a:r>
          </a:p>
        </p:txBody>
      </p:sp>
      <p:pic>
        <p:nvPicPr>
          <p:cNvPr id="3079" name="Picture 8" descr="new logo"/>
          <p:cNvPicPr>
            <a:picLocks noChangeAspect="1" noChangeArrowheads="1"/>
          </p:cNvPicPr>
          <p:nvPr/>
        </p:nvPicPr>
        <p:blipFill>
          <a:blip r:embed="rId14"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4216954116"/>
      </p:ext>
    </p:extLst>
  </p:cSld>
  <p:clrMap bg1="lt1" tx1="dk1" bg2="lt2" tx2="dk2" accent1="accent1" accent2="accent2" accent3="accent3" accent4="accent4" accent5="accent5" accent6="accent6" hlink="hlink" folHlink="folHlink"/>
  <p:sldLayoutIdLst>
    <p:sldLayoutId id="2147484834" r:id="rId1"/>
    <p:sldLayoutId id="2147484835" r:id="rId2"/>
    <p:sldLayoutId id="2147484836" r:id="rId3"/>
    <p:sldLayoutId id="2147484837" r:id="rId4"/>
    <p:sldLayoutId id="2147484838" r:id="rId5"/>
    <p:sldLayoutId id="2147484839" r:id="rId6"/>
    <p:sldLayoutId id="2147484840" r:id="rId7"/>
    <p:sldLayoutId id="2147484841" r:id="rId8"/>
    <p:sldLayoutId id="2147484842" r:id="rId9"/>
    <p:sldLayoutId id="2147484843" r:id="rId10"/>
    <p:sldLayoutId id="2147484844" r:id="rId11"/>
  </p:sldLayoutIdLst>
  <p:transition>
    <p:wipe dir="r"/>
  </p:transition>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3074" name="Picture 7" descr="ppt_land_print_2"/>
          <p:cNvPicPr>
            <a:picLocks noChangeAspect="1" noChangeArrowheads="1"/>
          </p:cNvPicPr>
          <p:nvPr/>
        </p:nvPicPr>
        <p:blipFill>
          <a:blip r:embed="rId14" cstate="print"/>
          <a:srcRect/>
          <a:stretch>
            <a:fillRect/>
          </a:stretch>
        </p:blipFill>
        <p:spPr bwMode="auto">
          <a:xfrm>
            <a:off x="0" y="6173812"/>
            <a:ext cx="9144000" cy="688975"/>
          </a:xfrm>
          <a:prstGeom prst="rect">
            <a:avLst/>
          </a:prstGeom>
          <a:noFill/>
          <a:ln w="9525">
            <a:noFill/>
            <a:miter lim="800000"/>
            <a:headEnd/>
            <a:tailEnd/>
          </a:ln>
        </p:spPr>
      </p:pic>
      <p:sp>
        <p:nvSpPr>
          <p:cNvPr id="3075"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altLang="en-US" smtClean="0"/>
              <a:t>Titelmasterformat durch Klicken bearbeiten</a:t>
            </a:r>
            <a:endParaRPr lang="en-US" altLang="en-US" smtClean="0"/>
          </a:p>
        </p:txBody>
      </p:sp>
      <p:sp>
        <p:nvSpPr>
          <p:cNvPr id="3076" name="Rectangle 4"/>
          <p:cNvSpPr>
            <a:spLocks noGrp="1" noChangeArrowheads="1"/>
          </p:cNvSpPr>
          <p:nvPr>
            <p:ph type="body" idx="1"/>
          </p:nvPr>
        </p:nvSpPr>
        <p:spPr bwMode="auto">
          <a:xfrm>
            <a:off x="373075"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altLang="en-US" smtClean="0"/>
              <a:t>Textmasterformate durch Klicken bearbeiten</a:t>
            </a:r>
          </a:p>
          <a:p>
            <a:pPr lvl="1"/>
            <a:r>
              <a:rPr lang="de-DE" altLang="en-US" smtClean="0"/>
              <a:t>Zweite Ebene</a:t>
            </a:r>
          </a:p>
          <a:p>
            <a:pPr lvl="2"/>
            <a:r>
              <a:rPr lang="de-DE" altLang="en-US" smtClean="0"/>
              <a:t>Dritte Ebene</a:t>
            </a:r>
          </a:p>
          <a:p>
            <a:pPr lvl="3"/>
            <a:r>
              <a:rPr lang="de-DE" altLang="en-US" smtClean="0"/>
              <a:t>Vierte Ebene</a:t>
            </a:r>
          </a:p>
          <a:p>
            <a:pPr lvl="4"/>
            <a:r>
              <a:rPr lang="de-DE" altLang="en-US" smtClean="0"/>
              <a:t>Fünfte Ebene</a:t>
            </a:r>
            <a:endParaRPr lang="en-US" altLang="en-US" smtClean="0"/>
          </a:p>
        </p:txBody>
      </p:sp>
      <p:sp>
        <p:nvSpPr>
          <p:cNvPr id="7173" name="Rectangle 5"/>
          <p:cNvSpPr>
            <a:spLocks noGrp="1" noChangeArrowheads="1"/>
          </p:cNvSpPr>
          <p:nvPr>
            <p:ph type="ftr" sz="quarter" idx="3"/>
          </p:nvPr>
        </p:nvSpPr>
        <p:spPr bwMode="auto">
          <a:xfrm>
            <a:off x="792168" y="6458411"/>
            <a:ext cx="5753100" cy="376238"/>
          </a:xfrm>
          <a:prstGeom prst="rect">
            <a:avLst/>
          </a:prstGeom>
          <a:noFill/>
          <a:ln w="9525">
            <a:noFill/>
            <a:miter lim="800000"/>
            <a:headEnd/>
            <a:tailEnd/>
          </a:ln>
          <a:effectLst/>
        </p:spPr>
        <p:txBody>
          <a:bodyPr vert="horz" wrap="square" lIns="0" tIns="45720" rIns="91440" bIns="45720" numCol="1" anchor="ctr" anchorCtr="0" compatLnSpc="1">
            <a:prstTxWarp prst="textNoShape">
              <a:avLst/>
            </a:prstTxWarp>
            <a:normAutofit/>
          </a:bodyPr>
          <a:lstStyle>
            <a:lvl1pPr eaLnBrk="0" hangingPunct="0">
              <a:spcAft>
                <a:spcPts val="600"/>
              </a:spcAft>
              <a:tabLst>
                <a:tab pos="441325" algn="l"/>
              </a:tabLst>
              <a:defRPr sz="800" b="0"/>
            </a:lvl1pPr>
          </a:lstStyle>
          <a:p>
            <a:pPr>
              <a:defRPr/>
            </a:pPr>
            <a:r>
              <a:rPr lang="en-US" dirty="0" smtClean="0">
                <a:solidFill>
                  <a:srgbClr val="626469"/>
                </a:solidFill>
                <a:latin typeface="Arial"/>
              </a:rPr>
              <a:t>Classification: PUBLIC USE</a:t>
            </a:r>
            <a:endParaRPr lang="en-US" dirty="0">
              <a:solidFill>
                <a:srgbClr val="626469"/>
              </a:solidFill>
              <a:latin typeface="Aria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974B40FB-612E-435B-B627-187A21F7DD64}" type="slidenum">
              <a:rPr lang="en-US" sz="1200">
                <a:solidFill>
                  <a:srgbClr val="626469"/>
                </a:solidFill>
                <a:latin typeface="Arial"/>
              </a:rPr>
              <a:pPr eaLnBrk="0" hangingPunct="0">
                <a:spcAft>
                  <a:spcPts val="600"/>
                </a:spcAft>
                <a:tabLst>
                  <a:tab pos="441325" algn="l"/>
                </a:tabLst>
                <a:defRPr/>
              </a:pPr>
              <a:t>‹#›</a:t>
            </a:fld>
            <a:r>
              <a:rPr lang="en-US" sz="1200" dirty="0">
                <a:solidFill>
                  <a:srgbClr val="626469"/>
                </a:solidFill>
                <a:latin typeface="Arial"/>
              </a:rPr>
              <a:t>	</a:t>
            </a:r>
          </a:p>
        </p:txBody>
      </p:sp>
      <p:pic>
        <p:nvPicPr>
          <p:cNvPr id="3079" name="Picture 8" descr="new logo"/>
          <p:cNvPicPr>
            <a:picLocks noChangeAspect="1" noChangeArrowheads="1"/>
          </p:cNvPicPr>
          <p:nvPr/>
        </p:nvPicPr>
        <p:blipFill>
          <a:blip r:embed="rId15"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3943294086"/>
      </p:ext>
    </p:extLst>
  </p:cSld>
  <p:clrMap bg1="lt1" tx1="dk1" bg2="lt2" tx2="dk2" accent1="accent1" accent2="accent2" accent3="accent3" accent4="accent4" accent5="accent5" accent6="accent6" hlink="hlink" folHlink="folHlink"/>
  <p:sldLayoutIdLst>
    <p:sldLayoutId id="2147484846" r:id="rId1"/>
    <p:sldLayoutId id="2147484847" r:id="rId2"/>
    <p:sldLayoutId id="2147484848" r:id="rId3"/>
    <p:sldLayoutId id="2147484849" r:id="rId4"/>
    <p:sldLayoutId id="2147484850" r:id="rId5"/>
    <p:sldLayoutId id="2147484851" r:id="rId6"/>
    <p:sldLayoutId id="2147484852" r:id="rId7"/>
    <p:sldLayoutId id="2147484853" r:id="rId8"/>
    <p:sldLayoutId id="2147484854" r:id="rId9"/>
    <p:sldLayoutId id="2147484855" r:id="rId10"/>
    <p:sldLayoutId id="2147484856" r:id="rId11"/>
    <p:sldLayoutId id="2147484857" r:id="rId12"/>
  </p:sldLayoutIdLst>
  <p:transition>
    <p:wipe dir="r"/>
  </p:transition>
  <p:timing>
    <p:tnLst>
      <p:par>
        <p:cTn id="1" dur="indefinite" restart="never" nodeType="tmRoot"/>
      </p:par>
    </p:tnLst>
  </p:timing>
  <p:hf sldNum="0" hdr="0" dt="0"/>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rgbClr val="FFFFFF"/>
        </a:solidFill>
        <a:effectLst/>
      </p:bgPr>
    </p:bg>
    <p:spTree>
      <p:nvGrpSpPr>
        <p:cNvPr id="1" name=""/>
        <p:cNvGrpSpPr/>
        <p:nvPr/>
      </p:nvGrpSpPr>
      <p:grpSpPr>
        <a:xfrm>
          <a:off x="0" y="0"/>
          <a:ext cx="0" cy="0"/>
          <a:chOff x="0" y="0"/>
          <a:chExt cx="0" cy="0"/>
        </a:xfrm>
      </p:grpSpPr>
      <p:pic>
        <p:nvPicPr>
          <p:cNvPr id="1026" name="Picture 7" descr="ppt_land_print_2"/>
          <p:cNvPicPr>
            <a:picLocks noChangeAspect="1" noChangeArrowheads="1"/>
          </p:cNvPicPr>
          <p:nvPr/>
        </p:nvPicPr>
        <p:blipFill>
          <a:blip r:embed="rId13" cstate="print"/>
          <a:srcRect/>
          <a:stretch>
            <a:fillRect/>
          </a:stretch>
        </p:blipFill>
        <p:spPr bwMode="auto">
          <a:xfrm>
            <a:off x="0" y="6173788"/>
            <a:ext cx="9144000" cy="688975"/>
          </a:xfrm>
          <a:prstGeom prst="rect">
            <a:avLst/>
          </a:prstGeom>
          <a:noFill/>
          <a:ln w="9525">
            <a:noFill/>
            <a:miter lim="800000"/>
            <a:headEnd/>
            <a:tailEnd/>
          </a:ln>
        </p:spPr>
      </p:pic>
      <p:sp>
        <p:nvSpPr>
          <p:cNvPr id="1027" name="Rectangle 3"/>
          <p:cNvSpPr>
            <a:spLocks noGrp="1" noChangeArrowheads="1"/>
          </p:cNvSpPr>
          <p:nvPr>
            <p:ph type="title"/>
          </p:nvPr>
        </p:nvSpPr>
        <p:spPr bwMode="auto">
          <a:xfrm>
            <a:off x="373063" y="88900"/>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en-US" smtClean="0"/>
              <a:t>Click to edit Master title style</a:t>
            </a:r>
          </a:p>
        </p:txBody>
      </p:sp>
      <p:sp>
        <p:nvSpPr>
          <p:cNvPr id="1028" name="Rectangle 4"/>
          <p:cNvSpPr>
            <a:spLocks noGrp="1" noChangeArrowheads="1"/>
          </p:cNvSpPr>
          <p:nvPr>
            <p:ph type="body" idx="1"/>
          </p:nvPr>
        </p:nvSpPr>
        <p:spPr bwMode="auto">
          <a:xfrm>
            <a:off x="373063" y="1211263"/>
            <a:ext cx="8459787" cy="47307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7173" name="Rectangle 5"/>
          <p:cNvSpPr>
            <a:spLocks noGrp="1" noChangeArrowheads="1"/>
          </p:cNvSpPr>
          <p:nvPr>
            <p:ph type="ftr" sz="quarter" idx="3"/>
          </p:nvPr>
        </p:nvSpPr>
        <p:spPr bwMode="auto">
          <a:xfrm>
            <a:off x="792163" y="6483350"/>
            <a:ext cx="5753100" cy="376238"/>
          </a:xfrm>
          <a:prstGeom prst="rect">
            <a:avLst/>
          </a:prstGeom>
          <a:noFill/>
          <a:ln w="9525">
            <a:noFill/>
            <a:miter lim="800000"/>
            <a:headEnd/>
            <a:tailEnd/>
          </a:ln>
          <a:effectLst/>
        </p:spPr>
        <p:txBody>
          <a:bodyPr vert="horz" wrap="square" lIns="0" tIns="45720" rIns="91440" bIns="45720" numCol="1" anchor="t" anchorCtr="0" compatLnSpc="1">
            <a:prstTxWarp prst="textNoShape">
              <a:avLst/>
            </a:prstTxWarp>
            <a:normAutofit/>
          </a:bodyPr>
          <a:lstStyle>
            <a:lvl1pPr eaLnBrk="0" hangingPunct="0">
              <a:spcAft>
                <a:spcPts val="600"/>
              </a:spcAft>
              <a:tabLst>
                <a:tab pos="441325" algn="l"/>
              </a:tabLst>
              <a:defRPr sz="1200">
                <a:cs typeface="+mn-cs"/>
              </a:defRPr>
            </a:lvl1pPr>
          </a:lstStyle>
          <a:p>
            <a:pPr>
              <a:defRPr/>
            </a:pPr>
            <a:endParaRPr lang="en-US">
              <a:solidFill>
                <a:srgbClr val="626469"/>
              </a:solidFill>
            </a:endParaRPr>
          </a:p>
        </p:txBody>
      </p:sp>
      <p:sp>
        <p:nvSpPr>
          <p:cNvPr id="7174" name="Rectangle 6"/>
          <p:cNvSpPr>
            <a:spLocks noChangeArrowheads="1"/>
          </p:cNvSpPr>
          <p:nvPr/>
        </p:nvSpPr>
        <p:spPr bwMode="auto">
          <a:xfrm>
            <a:off x="293688" y="6483350"/>
            <a:ext cx="557212" cy="374650"/>
          </a:xfrm>
          <a:prstGeom prst="rect">
            <a:avLst/>
          </a:prstGeom>
          <a:noFill/>
          <a:ln w="9525">
            <a:noFill/>
            <a:miter lim="800000"/>
            <a:headEnd/>
            <a:tailEnd/>
          </a:ln>
          <a:effectLst/>
        </p:spPr>
        <p:txBody>
          <a:bodyPr/>
          <a:lstStyle/>
          <a:p>
            <a:pPr eaLnBrk="0" hangingPunct="0">
              <a:spcAft>
                <a:spcPts val="600"/>
              </a:spcAft>
              <a:tabLst>
                <a:tab pos="441325" algn="l"/>
              </a:tabLst>
              <a:defRPr/>
            </a:pPr>
            <a:fld id="{8898461A-DC16-4EFF-8FE4-1CFE2F7DCDCC}" type="slidenum">
              <a:rPr lang="en-US" sz="1200">
                <a:solidFill>
                  <a:srgbClr val="626469"/>
                </a:solidFill>
                <a:cs typeface="Arial" charset="0"/>
              </a:rPr>
              <a:pPr eaLnBrk="0" hangingPunct="0">
                <a:spcAft>
                  <a:spcPts val="600"/>
                </a:spcAft>
                <a:tabLst>
                  <a:tab pos="441325" algn="l"/>
                </a:tabLst>
                <a:defRPr/>
              </a:pPr>
              <a:t>‹#›</a:t>
            </a:fld>
            <a:r>
              <a:rPr lang="en-US" sz="1200" dirty="0">
                <a:solidFill>
                  <a:srgbClr val="626469"/>
                </a:solidFill>
                <a:cs typeface="Arial" charset="0"/>
              </a:rPr>
              <a:t>	</a:t>
            </a:r>
          </a:p>
        </p:txBody>
      </p:sp>
      <p:pic>
        <p:nvPicPr>
          <p:cNvPr id="1031" name="Picture 8" descr="new logo"/>
          <p:cNvPicPr>
            <a:picLocks noChangeAspect="1" noChangeArrowheads="1"/>
          </p:cNvPicPr>
          <p:nvPr/>
        </p:nvPicPr>
        <p:blipFill>
          <a:blip r:embed="rId14" cstate="print"/>
          <a:srcRect/>
          <a:stretch>
            <a:fillRect/>
          </a:stretch>
        </p:blipFill>
        <p:spPr bwMode="auto">
          <a:xfrm>
            <a:off x="7489825" y="6403975"/>
            <a:ext cx="1174750" cy="350838"/>
          </a:xfrm>
          <a:prstGeom prst="rect">
            <a:avLst/>
          </a:prstGeom>
          <a:noFill/>
          <a:ln w="9525">
            <a:noFill/>
            <a:miter lim="800000"/>
            <a:headEnd/>
            <a:tailEnd/>
          </a:ln>
        </p:spPr>
      </p:pic>
    </p:spTree>
    <p:extLst>
      <p:ext uri="{BB962C8B-B14F-4D97-AF65-F5344CB8AC3E}">
        <p14:creationId xmlns:p14="http://schemas.microsoft.com/office/powerpoint/2010/main" val="1479856002"/>
      </p:ext>
    </p:extLst>
  </p:cSld>
  <p:clrMap bg1="lt1" tx1="dk1" bg2="lt2" tx2="dk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Lst>
  <p:transition>
    <p:wipe dir="r"/>
  </p:transition>
  <p:txStyles>
    <p:titleStyle>
      <a:lvl1pPr algn="l" defTabSz="957263" rtl="0" eaLnBrk="1" fontAlgn="base" hangingPunct="1">
        <a:lnSpc>
          <a:spcPct val="90000"/>
        </a:lnSpc>
        <a:spcBef>
          <a:spcPct val="0"/>
        </a:spcBef>
        <a:spcAft>
          <a:spcPct val="0"/>
        </a:spcAft>
        <a:defRPr sz="2200" b="1">
          <a:solidFill>
            <a:schemeClr val="tx2"/>
          </a:solidFill>
          <a:latin typeface="+mj-lt"/>
          <a:ea typeface="+mj-ea"/>
          <a:cs typeface="+mj-cs"/>
        </a:defRPr>
      </a:lvl1pPr>
      <a:lvl2pPr algn="l" defTabSz="957263" rtl="0" eaLnBrk="1" fontAlgn="base" hangingPunct="1">
        <a:lnSpc>
          <a:spcPct val="90000"/>
        </a:lnSpc>
        <a:spcBef>
          <a:spcPct val="0"/>
        </a:spcBef>
        <a:spcAft>
          <a:spcPct val="0"/>
        </a:spcAft>
        <a:defRPr sz="2200" b="1">
          <a:solidFill>
            <a:schemeClr val="tx2"/>
          </a:solidFill>
          <a:latin typeface="Arial" charset="0"/>
        </a:defRPr>
      </a:lvl2pPr>
      <a:lvl3pPr algn="l" defTabSz="957263" rtl="0" eaLnBrk="1" fontAlgn="base" hangingPunct="1">
        <a:lnSpc>
          <a:spcPct val="90000"/>
        </a:lnSpc>
        <a:spcBef>
          <a:spcPct val="0"/>
        </a:spcBef>
        <a:spcAft>
          <a:spcPct val="0"/>
        </a:spcAft>
        <a:defRPr sz="2200" b="1">
          <a:solidFill>
            <a:schemeClr val="tx2"/>
          </a:solidFill>
          <a:latin typeface="Arial" charset="0"/>
        </a:defRPr>
      </a:lvl3pPr>
      <a:lvl4pPr algn="l" defTabSz="957263" rtl="0" eaLnBrk="1" fontAlgn="base" hangingPunct="1">
        <a:lnSpc>
          <a:spcPct val="90000"/>
        </a:lnSpc>
        <a:spcBef>
          <a:spcPct val="0"/>
        </a:spcBef>
        <a:spcAft>
          <a:spcPct val="0"/>
        </a:spcAft>
        <a:defRPr sz="2200" b="1">
          <a:solidFill>
            <a:schemeClr val="tx2"/>
          </a:solidFill>
          <a:latin typeface="Arial" charset="0"/>
        </a:defRPr>
      </a:lvl4pPr>
      <a:lvl5pPr algn="l" defTabSz="957263" rtl="0" eaLnBrk="1" fontAlgn="base" hangingPunct="1">
        <a:lnSpc>
          <a:spcPct val="90000"/>
        </a:lnSpc>
        <a:spcBef>
          <a:spcPct val="0"/>
        </a:spcBef>
        <a:spcAft>
          <a:spcPct val="0"/>
        </a:spcAft>
        <a:defRPr sz="2200" b="1">
          <a:solidFill>
            <a:schemeClr val="tx2"/>
          </a:solidFill>
          <a:latin typeface="Arial" charset="0"/>
        </a:defRPr>
      </a:lvl5pPr>
      <a:lvl6pPr marL="457200" algn="l" defTabSz="957263" rtl="0" eaLnBrk="1" fontAlgn="base" hangingPunct="1">
        <a:lnSpc>
          <a:spcPct val="90000"/>
        </a:lnSpc>
        <a:spcBef>
          <a:spcPct val="0"/>
        </a:spcBef>
        <a:spcAft>
          <a:spcPct val="0"/>
        </a:spcAft>
        <a:defRPr sz="2200" b="1">
          <a:solidFill>
            <a:schemeClr val="tx2"/>
          </a:solidFill>
          <a:latin typeface="Arial" charset="0"/>
        </a:defRPr>
      </a:lvl6pPr>
      <a:lvl7pPr marL="914400" algn="l" defTabSz="957263" rtl="0" eaLnBrk="1" fontAlgn="base" hangingPunct="1">
        <a:lnSpc>
          <a:spcPct val="90000"/>
        </a:lnSpc>
        <a:spcBef>
          <a:spcPct val="0"/>
        </a:spcBef>
        <a:spcAft>
          <a:spcPct val="0"/>
        </a:spcAft>
        <a:defRPr sz="2200" b="1">
          <a:solidFill>
            <a:schemeClr val="tx2"/>
          </a:solidFill>
          <a:latin typeface="Arial" charset="0"/>
        </a:defRPr>
      </a:lvl7pPr>
      <a:lvl8pPr marL="1371600" algn="l" defTabSz="957263" rtl="0" eaLnBrk="1" fontAlgn="base" hangingPunct="1">
        <a:lnSpc>
          <a:spcPct val="90000"/>
        </a:lnSpc>
        <a:spcBef>
          <a:spcPct val="0"/>
        </a:spcBef>
        <a:spcAft>
          <a:spcPct val="0"/>
        </a:spcAft>
        <a:defRPr sz="2200" b="1">
          <a:solidFill>
            <a:schemeClr val="tx2"/>
          </a:solidFill>
          <a:latin typeface="Arial" charset="0"/>
        </a:defRPr>
      </a:lvl8pPr>
      <a:lvl9pPr marL="1828800" algn="l" defTabSz="957263" rtl="0" eaLnBrk="1" fontAlgn="base" hangingPunct="1">
        <a:lnSpc>
          <a:spcPct val="90000"/>
        </a:lnSpc>
        <a:spcBef>
          <a:spcPct val="0"/>
        </a:spcBef>
        <a:spcAft>
          <a:spcPct val="0"/>
        </a:spcAft>
        <a:defRPr sz="2200" b="1">
          <a:solidFill>
            <a:schemeClr val="tx2"/>
          </a:solidFill>
          <a:latin typeface="Arial" charset="0"/>
        </a:defRPr>
      </a:lvl9pPr>
    </p:titleStyle>
    <p:bodyStyle>
      <a:lvl1pPr marL="285750" indent="-285750" algn="l" defTabSz="957263" rtl="0" eaLnBrk="1" fontAlgn="base" hangingPunct="1">
        <a:spcBef>
          <a:spcPct val="0"/>
        </a:spcBef>
        <a:spcAft>
          <a:spcPct val="25000"/>
        </a:spcAft>
        <a:buClr>
          <a:schemeClr val="tx2"/>
        </a:buClr>
        <a:buFont typeface="Arial" charset="0"/>
        <a:buChar char="●"/>
        <a:defRPr sz="2000">
          <a:solidFill>
            <a:schemeClr val="tx1"/>
          </a:solidFill>
          <a:latin typeface="+mn-lt"/>
          <a:ea typeface="+mn-ea"/>
          <a:cs typeface="+mn-cs"/>
        </a:defRPr>
      </a:lvl1pPr>
      <a:lvl2pPr marL="676275" indent="-27622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2pPr>
      <a:lvl3pPr marL="1144588" indent="-287338" algn="l" defTabSz="957263" rtl="0" eaLnBrk="1" fontAlgn="base" hangingPunct="1">
        <a:spcBef>
          <a:spcPct val="0"/>
        </a:spcBef>
        <a:spcAft>
          <a:spcPct val="25000"/>
        </a:spcAft>
        <a:buClr>
          <a:schemeClr val="tx2"/>
        </a:buClr>
        <a:buChar char="•"/>
        <a:defRPr sz="2000">
          <a:solidFill>
            <a:schemeClr val="tx1"/>
          </a:solidFill>
          <a:latin typeface="+mn-lt"/>
        </a:defRPr>
      </a:lvl3pPr>
      <a:lvl4pPr marL="1619250" indent="-295275" algn="l" defTabSz="957263" rtl="0" eaLnBrk="1" fontAlgn="base" hangingPunct="1">
        <a:spcBef>
          <a:spcPct val="0"/>
        </a:spcBef>
        <a:spcAft>
          <a:spcPct val="25000"/>
        </a:spcAft>
        <a:buClr>
          <a:schemeClr val="tx2"/>
        </a:buClr>
        <a:buFont typeface="Arial" charset="0"/>
        <a:buChar char="-"/>
        <a:defRPr sz="2000">
          <a:solidFill>
            <a:schemeClr val="tx1"/>
          </a:solidFill>
          <a:latin typeface="+mn-lt"/>
        </a:defRPr>
      </a:lvl4pPr>
      <a:lvl5pPr marL="2093913" indent="-295275" algn="l" defTabSz="957263" rtl="0" eaLnBrk="1" fontAlgn="base" hangingPunct="1">
        <a:spcBef>
          <a:spcPct val="0"/>
        </a:spcBef>
        <a:spcAft>
          <a:spcPct val="25000"/>
        </a:spcAft>
        <a:buClr>
          <a:schemeClr val="tx2"/>
        </a:buClr>
        <a:buChar char="•"/>
        <a:defRPr sz="2000">
          <a:solidFill>
            <a:schemeClr val="tx1"/>
          </a:solidFill>
          <a:latin typeface="+mn-lt"/>
        </a:defRPr>
      </a:lvl5pPr>
      <a:lvl6pPr marL="2551113" indent="-295275" algn="l" defTabSz="957263" rtl="0" eaLnBrk="1" fontAlgn="base" hangingPunct="1">
        <a:spcBef>
          <a:spcPct val="0"/>
        </a:spcBef>
        <a:spcAft>
          <a:spcPct val="25000"/>
        </a:spcAft>
        <a:buClr>
          <a:schemeClr val="tx2"/>
        </a:buClr>
        <a:buChar char="•"/>
        <a:defRPr sz="2000">
          <a:solidFill>
            <a:schemeClr val="tx1"/>
          </a:solidFill>
          <a:latin typeface="+mn-lt"/>
        </a:defRPr>
      </a:lvl6pPr>
      <a:lvl7pPr marL="3008313" indent="-295275" algn="l" defTabSz="957263" rtl="0" eaLnBrk="1" fontAlgn="base" hangingPunct="1">
        <a:spcBef>
          <a:spcPct val="0"/>
        </a:spcBef>
        <a:spcAft>
          <a:spcPct val="25000"/>
        </a:spcAft>
        <a:buClr>
          <a:schemeClr val="tx2"/>
        </a:buClr>
        <a:buChar char="•"/>
        <a:defRPr sz="2000">
          <a:solidFill>
            <a:schemeClr val="tx1"/>
          </a:solidFill>
          <a:latin typeface="+mn-lt"/>
        </a:defRPr>
      </a:lvl7pPr>
      <a:lvl8pPr marL="3465513" indent="-295275" algn="l" defTabSz="957263" rtl="0" eaLnBrk="1" fontAlgn="base" hangingPunct="1">
        <a:spcBef>
          <a:spcPct val="0"/>
        </a:spcBef>
        <a:spcAft>
          <a:spcPct val="25000"/>
        </a:spcAft>
        <a:buClr>
          <a:schemeClr val="tx2"/>
        </a:buClr>
        <a:buChar char="•"/>
        <a:defRPr sz="2000">
          <a:solidFill>
            <a:schemeClr val="tx1"/>
          </a:solidFill>
          <a:latin typeface="+mn-lt"/>
        </a:defRPr>
      </a:lvl8pPr>
      <a:lvl9pPr marL="3922713" indent="-295275" algn="l" defTabSz="957263" rtl="0" eaLnBrk="1" fontAlgn="base" hangingPunct="1">
        <a:spcBef>
          <a:spcPct val="0"/>
        </a:spcBef>
        <a:spcAft>
          <a:spcPct val="25000"/>
        </a:spcAft>
        <a:buClr>
          <a:schemeClr val="tx2"/>
        </a:buClr>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8.xml"/></Relationships>
</file>

<file path=ppt/slides/_rels/slide1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42.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jpeg"/></Relationships>
</file>

<file path=ppt/slides/_rels/slide12.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0.png"/><Relationship Id="rId7" Type="http://schemas.openxmlformats.org/officeDocument/2006/relationships/image" Target="../media/image34.jpeg"/><Relationship Id="rId2" Type="http://schemas.openxmlformats.org/officeDocument/2006/relationships/image" Target="../media/image29.png"/><Relationship Id="rId1" Type="http://schemas.openxmlformats.org/officeDocument/2006/relationships/slideLayout" Target="../slideLayouts/slideLayout280.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gif"/><Relationship Id="rId9" Type="http://schemas.openxmlformats.org/officeDocument/2006/relationships/image" Target="../media/image36.png"/></Relationships>
</file>

<file path=ppt/slides/_rels/slide1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27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image" Target="../media/image45.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9.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69.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269.xml"/></Relationships>
</file>

<file path=ppt/slides/_rels/slide4.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 Id="rId9" Type="http://schemas.openxmlformats.org/officeDocument/2006/relationships/image" Target="../media/image17.jpeg"/></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26.xml"/><Relationship Id="rId7" Type="http://schemas.openxmlformats.org/officeDocument/2006/relationships/chart" Target="../charts/chart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Layout" Target="../slideLayouts/slideLayout6.xml"/><Relationship Id="rId5" Type="http://schemas.openxmlformats.org/officeDocument/2006/relationships/tags" Target="../tags/tag28.xml"/><Relationship Id="rId4" Type="http://schemas.openxmlformats.org/officeDocument/2006/relationships/tags" Target="../tags/tag27.xml"/></Relationships>
</file>

<file path=ppt/slides/_rels/slide8.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 Type="http://schemas.openxmlformats.org/officeDocument/2006/relationships/tags" Target="../tags/tag31.xml"/><Relationship Id="rId21" Type="http://schemas.openxmlformats.org/officeDocument/2006/relationships/tags" Target="../tags/tag49.xml"/><Relationship Id="rId34" Type="http://schemas.openxmlformats.org/officeDocument/2006/relationships/image" Target="../media/image19.png"/><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notesSlide" Target="../notesSlides/notesSlide6.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tags" Target="../tags/tag48.xml"/><Relationship Id="rId29" Type="http://schemas.openxmlformats.org/officeDocument/2006/relationships/tags" Target="../tags/tag57.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slideLayout" Target="../slideLayouts/slideLayout269.xml"/><Relationship Id="rId5" Type="http://schemas.openxmlformats.org/officeDocument/2006/relationships/tags" Target="../tags/tag33.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10" Type="http://schemas.openxmlformats.org/officeDocument/2006/relationships/tags" Target="../tags/tag38.xml"/><Relationship Id="rId19" Type="http://schemas.openxmlformats.org/officeDocument/2006/relationships/tags" Target="../tags/tag47.xml"/><Relationship Id="rId31" Type="http://schemas.openxmlformats.org/officeDocument/2006/relationships/tags" Target="../tags/tag59.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280.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sz="quarter" idx="1"/>
          </p:nvPr>
        </p:nvSpPr>
        <p:spPr/>
        <p:txBody>
          <a:bodyPr>
            <a:normAutofit/>
          </a:bodyPr>
          <a:lstStyle/>
          <a:p>
            <a:r>
              <a:rPr lang="de-CH" dirty="0" smtClean="0"/>
              <a:t>March </a:t>
            </a:r>
            <a:r>
              <a:rPr lang="de-CH" dirty="0" smtClean="0"/>
              <a:t>20, </a:t>
            </a:r>
            <a:r>
              <a:rPr lang="de-CH" dirty="0" smtClean="0"/>
              <a:t>2014</a:t>
            </a:r>
            <a:endParaRPr lang="de-CH" dirty="0"/>
          </a:p>
        </p:txBody>
      </p:sp>
      <p:sp>
        <p:nvSpPr>
          <p:cNvPr id="3" name="Titel 2"/>
          <p:cNvSpPr>
            <a:spLocks noGrp="1"/>
          </p:cNvSpPr>
          <p:nvPr>
            <p:ph type="ctrTitle" sz="quarter"/>
          </p:nvPr>
        </p:nvSpPr>
        <p:spPr>
          <a:xfrm>
            <a:off x="687389" y="4035425"/>
            <a:ext cx="5180012" cy="841375"/>
          </a:xfrm>
        </p:spPr>
        <p:txBody>
          <a:bodyPr>
            <a:normAutofit fontScale="90000"/>
          </a:bodyPr>
          <a:lstStyle/>
          <a:p>
            <a:r>
              <a:rPr lang="en-US" b="0" dirty="0" smtClean="0"/>
              <a:t>Syngenta’s contribution to the corn business in India</a:t>
            </a:r>
            <a:br>
              <a:rPr lang="en-US" b="0" dirty="0" smtClean="0"/>
            </a:br>
            <a:endParaRPr lang="de-CH" b="0" dirty="0">
              <a:solidFill>
                <a:srgbClr val="FF0000"/>
              </a:solidFill>
            </a:endParaRPr>
          </a:p>
        </p:txBody>
      </p:sp>
    </p:spTree>
    <p:extLst>
      <p:ext uri="{BB962C8B-B14F-4D97-AF65-F5344CB8AC3E}">
        <p14:creationId xmlns:p14="http://schemas.microsoft.com/office/powerpoint/2010/main" val="504563435"/>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3063" y="88900"/>
            <a:ext cx="8453437" cy="825500"/>
          </a:xfrm>
        </p:spPr>
        <p:txBody>
          <a:bodyPr/>
          <a:lstStyle/>
          <a:p>
            <a:r>
              <a:rPr lang="en-US" dirty="0" smtClean="0"/>
              <a:t>India Grower issues: multiple and driven by small farm size </a:t>
            </a:r>
            <a:endParaRPr lang="en-US" dirty="0"/>
          </a:p>
        </p:txBody>
      </p:sp>
      <p:sp>
        <p:nvSpPr>
          <p:cNvPr id="14" name="Rectangle 6"/>
          <p:cNvSpPr>
            <a:spLocks noChangeArrowheads="1"/>
          </p:cNvSpPr>
          <p:nvPr/>
        </p:nvSpPr>
        <p:spPr bwMode="auto">
          <a:xfrm>
            <a:off x="306855" y="1111613"/>
            <a:ext cx="2042645" cy="338554"/>
          </a:xfrm>
          <a:prstGeom prst="rect">
            <a:avLst/>
          </a:prstGeom>
          <a:noFill/>
          <a:ln w="6350" algn="ctr">
            <a:noFill/>
            <a:round/>
            <a:headEnd type="none" w="sm" len="sm"/>
            <a:tailEnd type="none" w="sm" len="sm"/>
          </a:ln>
        </p:spPr>
        <p:txBody>
          <a:bodyPr wrap="square">
            <a:spAutoFit/>
          </a:bodyPr>
          <a:lstStyle/>
          <a:p>
            <a:pPr marL="177800" indent="-177800" defTabSz="957263">
              <a:spcBef>
                <a:spcPts val="0"/>
              </a:spcBef>
              <a:spcAft>
                <a:spcPts val="600"/>
              </a:spcAft>
              <a:buClr>
                <a:srgbClr val="5F7800"/>
              </a:buClr>
              <a:defRPr/>
            </a:pPr>
            <a:r>
              <a:rPr lang="en-US" sz="1600" b="1" dirty="0" smtClean="0">
                <a:solidFill>
                  <a:srgbClr val="626469"/>
                </a:solidFill>
              </a:rPr>
              <a:t>Before farm</a:t>
            </a:r>
            <a:endParaRPr lang="en-US" sz="1600" dirty="0">
              <a:solidFill>
                <a:srgbClr val="626469"/>
              </a:solidFill>
            </a:endParaRPr>
          </a:p>
        </p:txBody>
      </p:sp>
      <p:cxnSp>
        <p:nvCxnSpPr>
          <p:cNvPr id="16" name="Straight Connector 15"/>
          <p:cNvCxnSpPr/>
          <p:nvPr/>
        </p:nvCxnSpPr>
        <p:spPr bwMode="auto">
          <a:xfrm>
            <a:off x="63500" y="1498600"/>
            <a:ext cx="2260600" cy="0"/>
          </a:xfrm>
          <a:prstGeom prst="line">
            <a:avLst/>
          </a:prstGeom>
          <a:ln w="28575">
            <a:headEnd type="none" w="sm" len="sm"/>
            <a:tailEnd type="none" w="sm" len="sm"/>
          </a:ln>
        </p:spPr>
        <p:style>
          <a:lnRef idx="1">
            <a:schemeClr val="accent2"/>
          </a:lnRef>
          <a:fillRef idx="0">
            <a:schemeClr val="accent2"/>
          </a:fillRef>
          <a:effectRef idx="0">
            <a:schemeClr val="accent2"/>
          </a:effectRef>
          <a:fontRef idx="minor">
            <a:schemeClr val="tx1"/>
          </a:fontRef>
        </p:style>
      </p:cxnSp>
      <p:sp>
        <p:nvSpPr>
          <p:cNvPr id="17" name="Rectangle 6"/>
          <p:cNvSpPr>
            <a:spLocks noChangeArrowheads="1"/>
          </p:cNvSpPr>
          <p:nvPr/>
        </p:nvSpPr>
        <p:spPr bwMode="auto">
          <a:xfrm>
            <a:off x="3850155" y="1111613"/>
            <a:ext cx="2042645" cy="338554"/>
          </a:xfrm>
          <a:prstGeom prst="rect">
            <a:avLst/>
          </a:prstGeom>
          <a:noFill/>
          <a:ln w="6350" algn="ctr">
            <a:noFill/>
            <a:round/>
            <a:headEnd type="none" w="sm" len="sm"/>
            <a:tailEnd type="none" w="sm" len="sm"/>
          </a:ln>
        </p:spPr>
        <p:txBody>
          <a:bodyPr wrap="square">
            <a:spAutoFit/>
          </a:bodyPr>
          <a:lstStyle/>
          <a:p>
            <a:pPr marL="177800" indent="-177800" defTabSz="957263">
              <a:spcBef>
                <a:spcPts val="0"/>
              </a:spcBef>
              <a:spcAft>
                <a:spcPts val="600"/>
              </a:spcAft>
              <a:buClr>
                <a:srgbClr val="5F7800"/>
              </a:buClr>
              <a:defRPr/>
            </a:pPr>
            <a:r>
              <a:rPr lang="en-US" sz="1600" b="1" dirty="0" smtClean="0">
                <a:solidFill>
                  <a:srgbClr val="626469"/>
                </a:solidFill>
              </a:rPr>
              <a:t>On the farm</a:t>
            </a:r>
            <a:endParaRPr lang="en-US" sz="1600" dirty="0">
              <a:solidFill>
                <a:srgbClr val="626469"/>
              </a:solidFill>
            </a:endParaRPr>
          </a:p>
        </p:txBody>
      </p:sp>
      <p:cxnSp>
        <p:nvCxnSpPr>
          <p:cNvPr id="18" name="Straight Connector 17"/>
          <p:cNvCxnSpPr/>
          <p:nvPr/>
        </p:nvCxnSpPr>
        <p:spPr bwMode="auto">
          <a:xfrm>
            <a:off x="2463800" y="1498600"/>
            <a:ext cx="4206240" cy="0"/>
          </a:xfrm>
          <a:prstGeom prst="line">
            <a:avLst/>
          </a:prstGeom>
          <a:ln w="28575">
            <a:headEnd type="none" w="sm" len="sm"/>
            <a:tailEnd type="none" w="sm" len="sm"/>
          </a:ln>
        </p:spPr>
        <p:style>
          <a:lnRef idx="1">
            <a:schemeClr val="accent2"/>
          </a:lnRef>
          <a:fillRef idx="0">
            <a:schemeClr val="accent2"/>
          </a:fillRef>
          <a:effectRef idx="0">
            <a:schemeClr val="accent2"/>
          </a:effectRef>
          <a:fontRef idx="minor">
            <a:schemeClr val="tx1"/>
          </a:fontRef>
        </p:style>
      </p:cxnSp>
      <p:pic>
        <p:nvPicPr>
          <p:cNvPr id="19" name="Picture 3" descr="C:\Users\eichoja1\AppData\Local\Microsoft\Windows\Temporary Internet Files\Content.Outlook\ROV74DIP\Corn_Growth_Stage_Revisions-hr (4).jpg"/>
          <p:cNvPicPr>
            <a:picLocks noChangeAspect="1" noChangeArrowheads="1"/>
          </p:cNvPicPr>
          <p:nvPr/>
        </p:nvPicPr>
        <p:blipFill>
          <a:blip r:embed="rId2" cstate="print"/>
          <a:srcRect/>
          <a:stretch>
            <a:fillRect/>
          </a:stretch>
        </p:blipFill>
        <p:spPr bwMode="auto">
          <a:xfrm>
            <a:off x="2425700" y="1930400"/>
            <a:ext cx="4089022" cy="1155700"/>
          </a:xfrm>
          <a:prstGeom prst="rect">
            <a:avLst/>
          </a:prstGeom>
          <a:noFill/>
          <a:ln w="9525">
            <a:noFill/>
            <a:miter lim="800000"/>
            <a:headEnd/>
            <a:tailEnd/>
          </a:ln>
        </p:spPr>
      </p:pic>
      <p:sp>
        <p:nvSpPr>
          <p:cNvPr id="20" name="Rectangle 6"/>
          <p:cNvSpPr>
            <a:spLocks noChangeArrowheads="1"/>
          </p:cNvSpPr>
          <p:nvPr/>
        </p:nvSpPr>
        <p:spPr bwMode="auto">
          <a:xfrm>
            <a:off x="6872755" y="1111613"/>
            <a:ext cx="2042645" cy="338554"/>
          </a:xfrm>
          <a:prstGeom prst="rect">
            <a:avLst/>
          </a:prstGeom>
          <a:noFill/>
          <a:ln w="6350" algn="ctr">
            <a:noFill/>
            <a:round/>
            <a:headEnd type="none" w="sm" len="sm"/>
            <a:tailEnd type="none" w="sm" len="sm"/>
          </a:ln>
        </p:spPr>
        <p:txBody>
          <a:bodyPr wrap="square">
            <a:spAutoFit/>
          </a:bodyPr>
          <a:lstStyle/>
          <a:p>
            <a:pPr marL="177800" indent="-177800" defTabSz="957263">
              <a:spcBef>
                <a:spcPts val="0"/>
              </a:spcBef>
              <a:spcAft>
                <a:spcPts val="600"/>
              </a:spcAft>
              <a:buClr>
                <a:srgbClr val="5F7800"/>
              </a:buClr>
              <a:defRPr/>
            </a:pPr>
            <a:r>
              <a:rPr lang="en-US" sz="1600" b="1" dirty="0" smtClean="0">
                <a:solidFill>
                  <a:srgbClr val="626469"/>
                </a:solidFill>
              </a:rPr>
              <a:t>After farm</a:t>
            </a:r>
            <a:endParaRPr lang="en-US" sz="1600" dirty="0">
              <a:solidFill>
                <a:srgbClr val="626469"/>
              </a:solidFill>
            </a:endParaRPr>
          </a:p>
        </p:txBody>
      </p:sp>
      <p:cxnSp>
        <p:nvCxnSpPr>
          <p:cNvPr id="21" name="Straight Connector 20"/>
          <p:cNvCxnSpPr/>
          <p:nvPr/>
        </p:nvCxnSpPr>
        <p:spPr bwMode="auto">
          <a:xfrm>
            <a:off x="6845300" y="1485900"/>
            <a:ext cx="2260600" cy="0"/>
          </a:xfrm>
          <a:prstGeom prst="line">
            <a:avLst/>
          </a:prstGeom>
          <a:ln w="28575">
            <a:headEnd type="none" w="sm" len="sm"/>
            <a:tailEnd type="none" w="sm" len="sm"/>
          </a:ln>
        </p:spPr>
        <p:style>
          <a:lnRef idx="1">
            <a:schemeClr val="accent2"/>
          </a:lnRef>
          <a:fillRef idx="0">
            <a:schemeClr val="accent2"/>
          </a:fillRef>
          <a:effectRef idx="0">
            <a:schemeClr val="accent2"/>
          </a:effectRef>
          <a:fontRef idx="minor">
            <a:schemeClr val="tx1"/>
          </a:fontRef>
        </p:style>
      </p:cxnSp>
      <p:sp>
        <p:nvSpPr>
          <p:cNvPr id="22" name="Rectangle 6"/>
          <p:cNvSpPr>
            <a:spLocks noChangeArrowheads="1"/>
          </p:cNvSpPr>
          <p:nvPr/>
        </p:nvSpPr>
        <p:spPr bwMode="auto">
          <a:xfrm>
            <a:off x="217955" y="2028428"/>
            <a:ext cx="2042645" cy="3354765"/>
          </a:xfrm>
          <a:prstGeom prst="rect">
            <a:avLst/>
          </a:prstGeom>
          <a:noFill/>
          <a:ln w="6350" algn="ctr">
            <a:noFill/>
            <a:round/>
            <a:headEnd type="none" w="sm" len="sm"/>
            <a:tailEnd type="none" w="sm" len="sm"/>
          </a:ln>
        </p:spPr>
        <p:txBody>
          <a:bodyPr wrap="square">
            <a:spAutoFit/>
          </a:bodyPr>
          <a:lstStyle/>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Financing for inputs</a:t>
            </a:r>
          </a:p>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Labor shortage for land preparation</a:t>
            </a:r>
          </a:p>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Weather related concerns</a:t>
            </a:r>
          </a:p>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Need to have off-farm income to support family</a:t>
            </a:r>
          </a:p>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Uncertainty on which inputs to buy: fake products</a:t>
            </a:r>
          </a:p>
        </p:txBody>
      </p:sp>
      <p:sp>
        <p:nvSpPr>
          <p:cNvPr id="23" name="Rectangle 6"/>
          <p:cNvSpPr>
            <a:spLocks noChangeArrowheads="1"/>
          </p:cNvSpPr>
          <p:nvPr/>
        </p:nvSpPr>
        <p:spPr bwMode="auto">
          <a:xfrm>
            <a:off x="2702512" y="3242302"/>
            <a:ext cx="3356974" cy="1231106"/>
          </a:xfrm>
          <a:prstGeom prst="rect">
            <a:avLst/>
          </a:prstGeom>
          <a:noFill/>
          <a:ln w="6350" algn="ctr">
            <a:noFill/>
            <a:round/>
            <a:headEnd type="none" w="sm" len="sm"/>
            <a:tailEnd type="none" w="sm" len="sm"/>
          </a:ln>
        </p:spPr>
        <p:txBody>
          <a:bodyPr wrap="square">
            <a:spAutoFit/>
          </a:bodyPr>
          <a:lstStyle/>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Sub-optimal farm management</a:t>
            </a:r>
          </a:p>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Low level mechanization / Labor shortage</a:t>
            </a:r>
          </a:p>
          <a:p>
            <a:pPr defTabSz="957263">
              <a:spcBef>
                <a:spcPts val="0"/>
              </a:spcBef>
              <a:spcAft>
                <a:spcPts val="600"/>
              </a:spcAft>
              <a:buClr>
                <a:srgbClr val="5F7800"/>
              </a:buClr>
              <a:defRPr/>
            </a:pPr>
            <a:endParaRPr lang="en-US" sz="1600" dirty="0" smtClean="0">
              <a:solidFill>
                <a:srgbClr val="626469"/>
              </a:solidFill>
            </a:endParaRPr>
          </a:p>
        </p:txBody>
      </p:sp>
      <p:sp>
        <p:nvSpPr>
          <p:cNvPr id="24" name="Rectangle 6"/>
          <p:cNvSpPr>
            <a:spLocks noChangeArrowheads="1"/>
          </p:cNvSpPr>
          <p:nvPr/>
        </p:nvSpPr>
        <p:spPr bwMode="auto">
          <a:xfrm>
            <a:off x="6768722" y="1939528"/>
            <a:ext cx="2375278" cy="3354765"/>
          </a:xfrm>
          <a:prstGeom prst="rect">
            <a:avLst/>
          </a:prstGeom>
          <a:noFill/>
          <a:ln w="6350" algn="ctr">
            <a:noFill/>
            <a:round/>
            <a:headEnd type="none" w="sm" len="sm"/>
            <a:tailEnd type="none" w="sm" len="sm"/>
          </a:ln>
        </p:spPr>
        <p:txBody>
          <a:bodyPr wrap="square">
            <a:spAutoFit/>
          </a:bodyPr>
          <a:lstStyle/>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Infrastructure and transport issues</a:t>
            </a:r>
          </a:p>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Crop loss after harvest</a:t>
            </a:r>
          </a:p>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Managing financial cash flow issues</a:t>
            </a:r>
          </a:p>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No have post harvest facilities </a:t>
            </a:r>
          </a:p>
          <a:p>
            <a:pPr marL="177800" indent="-177800" defTabSz="957263">
              <a:spcBef>
                <a:spcPts val="0"/>
              </a:spcBef>
              <a:spcAft>
                <a:spcPts val="600"/>
              </a:spcAft>
              <a:buClr>
                <a:srgbClr val="5F7800"/>
              </a:buClr>
              <a:buFont typeface="Arial" pitchFamily="34" charset="0"/>
              <a:buChar char="●"/>
              <a:defRPr/>
            </a:pPr>
            <a:r>
              <a:rPr lang="en-US" sz="1600" dirty="0" smtClean="0">
                <a:solidFill>
                  <a:srgbClr val="626469"/>
                </a:solidFill>
              </a:rPr>
              <a:t>Little bargaining power means limited options in terms of pricing</a:t>
            </a:r>
          </a:p>
        </p:txBody>
      </p:sp>
      <p:sp>
        <p:nvSpPr>
          <p:cNvPr id="26" name="Rounded Rectangle 25"/>
          <p:cNvSpPr/>
          <p:nvPr/>
        </p:nvSpPr>
        <p:spPr bwMode="auto">
          <a:xfrm>
            <a:off x="177800" y="5485704"/>
            <a:ext cx="8763000" cy="495300"/>
          </a:xfrm>
          <a:prstGeom prst="roundRect">
            <a:avLst/>
          </a:prstGeom>
          <a:solidFill>
            <a:schemeClr val="accent2">
              <a:lumMod val="20000"/>
              <a:lumOff val="80000"/>
            </a:schemeClr>
          </a:solidFill>
          <a:ln w="28575">
            <a:solidFill>
              <a:schemeClr val="accent2"/>
            </a:solidFill>
            <a:headEnd type="none" w="sm" len="sm"/>
            <a:tailEnd type="none" w="sm" len="sm"/>
          </a:ln>
        </p:spPr>
        <p:style>
          <a:lnRef idx="2">
            <a:schemeClr val="accent5">
              <a:shade val="50000"/>
            </a:schemeClr>
          </a:lnRef>
          <a:fillRef idx="1">
            <a:schemeClr val="accent5"/>
          </a:fillRef>
          <a:effectRef idx="0">
            <a:schemeClr val="accent5"/>
          </a:effectRef>
          <a:fontRef idx="minor">
            <a:schemeClr val="lt1"/>
          </a:fontRef>
        </p:style>
        <p:txBody>
          <a:bodyPr vert="horz" wrap="square" lIns="0" tIns="0" rIns="0" bIns="0" numCol="1" rtlCol="0" anchor="t" anchorCtr="0" compatLnSpc="1">
            <a:prstTxWarp prst="textNoShape">
              <a:avLst/>
            </a:prstTxWarp>
          </a:bodyPr>
          <a:lstStyle/>
          <a:p>
            <a:pPr algn="ctr" eaLnBrk="0" hangingPunct="0">
              <a:spcAft>
                <a:spcPts val="600"/>
              </a:spcAft>
            </a:pPr>
            <a:endParaRPr lang="en-US" sz="1200" b="1" dirty="0" smtClean="0">
              <a:solidFill>
                <a:srgbClr val="626469"/>
              </a:solidFill>
            </a:endParaRPr>
          </a:p>
          <a:p>
            <a:pPr algn="ctr" eaLnBrk="0" hangingPunct="0">
              <a:spcAft>
                <a:spcPts val="600"/>
              </a:spcAft>
            </a:pPr>
            <a:endParaRPr lang="en-US" sz="1200" b="1" dirty="0" smtClean="0">
              <a:solidFill>
                <a:srgbClr val="626469"/>
              </a:solidFill>
            </a:endParaRPr>
          </a:p>
          <a:p>
            <a:pPr algn="ctr" eaLnBrk="0" hangingPunct="0">
              <a:spcAft>
                <a:spcPts val="600"/>
              </a:spcAft>
            </a:pPr>
            <a:endParaRPr lang="en-US" sz="1200" b="1" dirty="0" smtClean="0">
              <a:solidFill>
                <a:srgbClr val="626469"/>
              </a:solidFill>
            </a:endParaRPr>
          </a:p>
        </p:txBody>
      </p:sp>
      <p:sp>
        <p:nvSpPr>
          <p:cNvPr id="27" name="Rectangle 6"/>
          <p:cNvSpPr>
            <a:spLocks noChangeArrowheads="1"/>
          </p:cNvSpPr>
          <p:nvPr/>
        </p:nvSpPr>
        <p:spPr bwMode="auto">
          <a:xfrm>
            <a:off x="929155" y="5505813"/>
            <a:ext cx="7897345" cy="338554"/>
          </a:xfrm>
          <a:prstGeom prst="rect">
            <a:avLst/>
          </a:prstGeom>
          <a:noFill/>
          <a:ln w="6350" algn="ctr">
            <a:noFill/>
            <a:round/>
            <a:headEnd type="none" w="sm" len="sm"/>
            <a:tailEnd type="none" w="sm" len="sm"/>
          </a:ln>
        </p:spPr>
        <p:txBody>
          <a:bodyPr wrap="square">
            <a:spAutoFit/>
          </a:bodyPr>
          <a:lstStyle/>
          <a:p>
            <a:pPr marL="177800" indent="-177800" defTabSz="957263">
              <a:spcBef>
                <a:spcPts val="0"/>
              </a:spcBef>
              <a:spcAft>
                <a:spcPts val="200"/>
              </a:spcAft>
              <a:buClr>
                <a:srgbClr val="5F7800"/>
              </a:buClr>
              <a:defRPr/>
            </a:pPr>
            <a:r>
              <a:rPr lang="en-US" sz="1600" i="1" dirty="0" smtClean="0">
                <a:solidFill>
                  <a:srgbClr val="626469"/>
                </a:solidFill>
              </a:rPr>
              <a:t>Multiple pain points driven by small farm size and sub-optimal growing practice</a:t>
            </a:r>
            <a:endParaRPr lang="en-US" sz="1600" i="1" dirty="0">
              <a:solidFill>
                <a:srgbClr val="626469"/>
              </a:solidFill>
            </a:endParaRPr>
          </a:p>
        </p:txBody>
      </p:sp>
      <p:sp>
        <p:nvSpPr>
          <p:cNvPr id="2" name="Right Triangle 1"/>
          <p:cNvSpPr/>
          <p:nvPr/>
        </p:nvSpPr>
        <p:spPr bwMode="auto">
          <a:xfrm>
            <a:off x="3168516" y="4212520"/>
            <a:ext cx="3508745" cy="965534"/>
          </a:xfrm>
          <a:prstGeom prst="rtTriangle">
            <a:avLst/>
          </a:prstGeom>
          <a:ln>
            <a:headEnd type="none" w="sm" len="sm"/>
            <a:tailEnd type="none" w="sm" len="sm"/>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eaLnBrk="0" hangingPunct="0">
              <a:spcAft>
                <a:spcPts val="600"/>
              </a:spcAft>
            </a:pPr>
            <a:endParaRPr lang="en-US" dirty="0" smtClean="0">
              <a:solidFill>
                <a:srgbClr val="626469"/>
              </a:solidFill>
            </a:endParaRPr>
          </a:p>
        </p:txBody>
      </p:sp>
      <p:sp>
        <p:nvSpPr>
          <p:cNvPr id="4" name="TextBox 3"/>
          <p:cNvSpPr txBox="1"/>
          <p:nvPr/>
        </p:nvSpPr>
        <p:spPr>
          <a:xfrm rot="16200000">
            <a:off x="2311400" y="4308209"/>
            <a:ext cx="1322572" cy="914400"/>
          </a:xfrm>
          <a:prstGeom prst="rect">
            <a:avLst/>
          </a:prstGeom>
          <a:noFill/>
        </p:spPr>
        <p:txBody>
          <a:bodyPr wrap="square" rtlCol="0">
            <a:normAutofit/>
          </a:bodyPr>
          <a:lstStyle/>
          <a:p>
            <a:pPr algn="ctr">
              <a:spcBef>
                <a:spcPts val="0"/>
              </a:spcBef>
              <a:spcAft>
                <a:spcPts val="600"/>
              </a:spcAft>
            </a:pPr>
            <a:r>
              <a:rPr lang="en-US" sz="1400" b="1" dirty="0" smtClean="0">
                <a:solidFill>
                  <a:srgbClr val="5F7800"/>
                </a:solidFill>
              </a:rPr>
              <a:t>Yield potential</a:t>
            </a:r>
          </a:p>
        </p:txBody>
      </p:sp>
      <p:sp>
        <p:nvSpPr>
          <p:cNvPr id="5" name="Rectangle 4"/>
          <p:cNvSpPr/>
          <p:nvPr/>
        </p:nvSpPr>
        <p:spPr bwMode="auto">
          <a:xfrm>
            <a:off x="5667174" y="4765409"/>
            <a:ext cx="1169582" cy="529604"/>
          </a:xfrm>
          <a:prstGeom prst="rect">
            <a:avLst/>
          </a:prstGeom>
          <a:solidFill>
            <a:schemeClr val="bg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r>
              <a:rPr lang="en-US" sz="1400" b="1" dirty="0" smtClean="0">
                <a:solidFill>
                  <a:srgbClr val="5F7800"/>
                </a:solidFill>
              </a:rPr>
              <a:t>Realized yield</a:t>
            </a:r>
          </a:p>
        </p:txBody>
      </p:sp>
      <p:sp>
        <p:nvSpPr>
          <p:cNvPr id="25" name="Footer Placeholder 3"/>
          <p:cNvSpPr>
            <a:spLocks noGrp="1"/>
          </p:cNvSpPr>
          <p:nvPr>
            <p:ph type="ftr" sz="quarter" idx="10"/>
          </p:nvPr>
        </p:nvSpPr>
        <p:spPr>
          <a:xfrm>
            <a:off x="792163" y="6346209"/>
            <a:ext cx="5753100" cy="487212"/>
          </a:xfrm>
        </p:spPr>
        <p:txBody>
          <a:bodyPr>
            <a:normAutofit/>
          </a:bodyPr>
          <a:lstStyle/>
          <a:p>
            <a:pPr>
              <a:defRPr/>
            </a:pPr>
            <a:r>
              <a:rPr lang="en-US" sz="1050" dirty="0" smtClean="0">
                <a:solidFill>
                  <a:srgbClr val="626469"/>
                </a:solidFill>
              </a:rPr>
              <a:t>Classification: PUBLIC</a:t>
            </a:r>
            <a:endParaRPr lang="en-US" sz="1050" dirty="0">
              <a:solidFill>
                <a:srgbClr val="626469"/>
              </a:solidFill>
            </a:endParaRPr>
          </a:p>
        </p:txBody>
      </p:sp>
    </p:spTree>
    <p:extLst>
      <p:ext uri="{BB962C8B-B14F-4D97-AF65-F5344CB8AC3E}">
        <p14:creationId xmlns:p14="http://schemas.microsoft.com/office/powerpoint/2010/main" val="3180970842"/>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3438" y="857250"/>
            <a:ext cx="3200400" cy="2086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59" name="Picture 6" descr="http://www.sprayerchina.com/eweb/UploadFile/20091214100922562.jpg"/>
          <p:cNvPicPr>
            <a:picLocks noChangeAspect="1" noChangeArrowheads="1"/>
          </p:cNvPicPr>
          <p:nvPr/>
        </p:nvPicPr>
        <p:blipFill>
          <a:blip r:embed="rId4">
            <a:extLst>
              <a:ext uri="{28A0092B-C50C-407E-A947-70E740481C1C}">
                <a14:useLocalDpi xmlns:a14="http://schemas.microsoft.com/office/drawing/2010/main" val="0"/>
              </a:ext>
            </a:extLst>
          </a:blip>
          <a:srcRect l="4919" r="6517"/>
          <a:stretch>
            <a:fillRect/>
          </a:stretch>
        </p:blipFill>
        <p:spPr bwMode="auto">
          <a:xfrm>
            <a:off x="4643438" y="3357563"/>
            <a:ext cx="320040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0" name="Picture 6"/>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2689" r="16601"/>
          <a:stretch/>
        </p:blipFill>
        <p:spPr bwMode="auto">
          <a:xfrm>
            <a:off x="1241951" y="3365837"/>
            <a:ext cx="3248167" cy="212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1" name="Picture 4" descr="http://www.agricorner.com/wp-content/uploads/2011/03/drought-telerance-corn.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36663" y="857250"/>
            <a:ext cx="3200400" cy="2134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2" name="Title 4"/>
          <p:cNvSpPr>
            <a:spLocks noGrp="1"/>
          </p:cNvSpPr>
          <p:nvPr>
            <p:ph type="title"/>
          </p:nvPr>
        </p:nvSpPr>
        <p:spPr>
          <a:xfrm>
            <a:off x="323300" y="287114"/>
            <a:ext cx="8655600" cy="304699"/>
          </a:xfrm>
        </p:spPr>
        <p:txBody>
          <a:bodyPr/>
          <a:lstStyle/>
          <a:p>
            <a:r>
              <a:rPr lang="en-US" sz="2200" b="1" dirty="0" smtClean="0">
                <a:solidFill>
                  <a:schemeClr val="accent6"/>
                </a:solidFill>
              </a:rPr>
              <a:t>Technology is transforming corn growing in India</a:t>
            </a:r>
          </a:p>
        </p:txBody>
      </p:sp>
      <p:cxnSp>
        <p:nvCxnSpPr>
          <p:cNvPr id="19463" name="Straight Connector 8"/>
          <p:cNvCxnSpPr>
            <a:cxnSpLocks noChangeShapeType="1"/>
          </p:cNvCxnSpPr>
          <p:nvPr/>
        </p:nvCxnSpPr>
        <p:spPr bwMode="auto">
          <a:xfrm>
            <a:off x="4572000" y="928688"/>
            <a:ext cx="0" cy="5143500"/>
          </a:xfrm>
          <a:prstGeom prst="line">
            <a:avLst/>
          </a:prstGeom>
          <a:noFill/>
          <a:ln w="6350" algn="ctr">
            <a:solidFill>
              <a:schemeClr val="accent2"/>
            </a:solidFill>
            <a:round/>
            <a:headEnd type="none" w="sm" len="sm"/>
            <a:tailEnd type="none" w="sm" len="sm"/>
          </a:ln>
        </p:spPr>
      </p:cxnSp>
      <p:cxnSp>
        <p:nvCxnSpPr>
          <p:cNvPr id="19464" name="Straight Connector 10"/>
          <p:cNvCxnSpPr>
            <a:cxnSpLocks noChangeShapeType="1"/>
          </p:cNvCxnSpPr>
          <p:nvPr/>
        </p:nvCxnSpPr>
        <p:spPr bwMode="auto">
          <a:xfrm>
            <a:off x="500063" y="3286125"/>
            <a:ext cx="8215312" cy="0"/>
          </a:xfrm>
          <a:prstGeom prst="line">
            <a:avLst/>
          </a:prstGeom>
          <a:noFill/>
          <a:ln w="6350" algn="ctr">
            <a:solidFill>
              <a:schemeClr val="accent2"/>
            </a:solidFill>
            <a:round/>
            <a:headEnd type="none" w="sm" len="sm"/>
            <a:tailEnd type="none" w="sm" len="sm"/>
          </a:ln>
        </p:spPr>
      </p:cxnSp>
      <p:sp>
        <p:nvSpPr>
          <p:cNvPr id="12" name="TextBox 11"/>
          <p:cNvSpPr txBox="1"/>
          <p:nvPr/>
        </p:nvSpPr>
        <p:spPr>
          <a:xfrm>
            <a:off x="928688" y="1423295"/>
            <a:ext cx="1285875" cy="8989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spcBef>
                <a:spcPts val="600"/>
              </a:spcBef>
              <a:defRPr/>
            </a:pPr>
            <a:r>
              <a:rPr lang="en-US" sz="2000" dirty="0">
                <a:solidFill>
                  <a:srgbClr val="FFFFFF"/>
                </a:solidFill>
              </a:rPr>
              <a:t>Genetics</a:t>
            </a:r>
          </a:p>
        </p:txBody>
      </p:sp>
      <p:sp>
        <p:nvSpPr>
          <p:cNvPr id="19466" name="AutoShape 2" descr="data:image/jpg;base64,/9j/4AAQSkZJRgABAQAAAQABAAD/2wCEAAkGBhQSERUUEhQUFRUUFBQVFBQUFBQUFBUUFBQVFBQUFBQXHCYeFxkkGRQUHy8gIycpLCwsFR4xNTAqNSYrLCkBCQoKDgwOGg8PGiwkHyQsKiwsKiwsLCwsLCwsLCwsKSkqKSwpKSkpKSwsLCksKSkqKSwsKSksKSwuLCwsLCwpLP/AABEIALcBEwMBIgACEQEDEQH/xAAbAAABBQEBAAAAAAAAAAAAAAAFAAIDBAYBB//EADsQAAEDAgQEBAMGBQMFAAAAAAEAAgMEEQUSITEGQVFhEyJxgQcykRQjUqGxwTNC0eHwFmJyFVOCkqL/xAAZAQADAQEBAAAAAAAAAAAAAAABAgMEAAX/xAAsEQACAgICAQMDAwQDAAAAAAAAAQIRAyESMVEEIkETYXGR4fAUgdHxMrHB/9oADAMBAAIRAxEAPwDGOCc1dATgkYpNCxWWsUMKsNCU4c0LpCQXUjYURkLhClyprmpQld4ULgrL2qpK9ccRSKElPcVESuOOgohSBD4xqilKxMkKwnSNuUepGIVQRIzCVVIUuxqcOVWORMrZnZSGfO4HLflyLva6LdI5K2V56kTOc1tx4RuH6fxeQbfSw1uUOZiN/K7MXjoAD+WyJtjDGBo5fmeZXcP4Y+0uL7hmUHz7XPRSnaV3RaLTfGinhwBkzOvcfK3dznckfpq5zJXOeCC1ugPco7QUlMyNhY0s08znNOYnY2J31B1Sq+H21BzRy6htrEcu68f1kXna4Pa662bsFQXu0inLx/kGoafVY/iDjSao0vZvIDQfRLHMPcy4JDgOY/y4Q3AcFkqpfDjFgBd73fKxv4nH9uaywzZcnslbLSxRj7kURMBut1wpxIyOkbGQC0l+Ydy86/Sys0vCOH/K90kjhu8ktbfs1ttPqh2M8CNiY59NIS3k24Lc2mlzqFVY5R98JK/t/P2EcotcWaWixOkZdwLQHDzBzde2o3Wf4y4yhMfhwDmbn+iwdbUvBLX3a4cihclUrwyNqmSlCmOq5L3QeSYj0Vyeq0Wp+HXw9+3vMkxLYGHW3zPP4QeQ7qsFbO6WzCNku4X6rYHH3Oha2+wAWz4hoqCmuxkDLDTa5Nu5WDxKlhfrAch/CT5fboo5Gsjqugp0gXPUEnVRXUdUHMNnjXryUYkWyLpUyEkT2SUXirqNoFBRgUrWprWp7VrMxPGpmlQNKkBS2ElDkrqMFdulCSZlwvUd01zlxxyZ6pOU0jlEVxxE4KIhTldZFconCpoUXpo1VhjsrsJVEIwrTlXmPQqKRWo5k6FCLZFCPmLybk6Ds3oExjtLnYdefYdSmRuc8gAXceTRzPIBB1f4HVpfkkmmRjDK8iJosQL6lGeHuDvD+8qLFx+WMa29e6JTYPG7QyBh6NAsPXqsHrbnHgv+zT6ZKMuTO02PQFgD9CABe1xohGNcaQxNcIG+cgjNYCw7AKrxDwq6JmZrg5vrZ3qOSwT4/PbUm9rc79LLzZZskPbNbNixRluLtFl1S6VxLjutjwPWx08BDh/Fe/OedgcoHsB+ZVeh4Tiia11ZIWucL+Ez5hf8buR7D6q8/hqJ0bvsjz+LK4k/r+ylwyxlyhV+Pkdyg1xf6htk9HYnO2x1sdCO4IWX4t4vhbH4UHW5PUrKY3HJGS0kjodcrvQrMySm+q1QyKS3SIShxZPWVRk+bXp1Hog8j7FXzKLJ2CcOTV0/hwNvzc46NaOringrekFOlsDu1Xq2A8SCmpY2xm1m6+vNVav4VwQjLLUOL7a5QAAe19Vn8Twx8DbNPiMHMbgdwo5pXJKL2mMqoix7FvFeTfmgbnLksg5FR+KtuOqM8rHzuzix1QioBYbcuSLByGYs7ZXjV0KrK/2tJJlOLJJvaE1pXWJhTmq7MhM1PCY1PSNBO3STCUglCOJUT3p91G8IHETioypC1MKFnDVZiaomBStcqRAy2xSNcq7HJ+ZUQpeicpY6ocvN+Tfrz9lXZOBGRzcdf+I1t+ii8VFbDVBA1RO5v05AdgEd4Vrgwudpm5dk3hDg59UQ9/liB57u9FqMSwaBhLYYySBqWNJse9lk9XPjjaRfBHlNNhzh+QvjMhdd79r/AMreQH6q1PRxN877N6nN+xWEkqJYgAczd8twRoOdkFxLFpHmznGy8uPrIqPCUdrybZenldp6DnFvE4lIZH8jdB37oFwtC37e179RG10gHVwsG39C6/srmEcJT1LczAGsOz3kgH/iNz+i5VcGVNLIJA5kmhBa24Jad8t9Dy58lKayyf1aKQ4RXCzaV0NNUuBLgHaaE2/NWP8ApsYbo7whudRa1uRuvMamtex2uZrrXyuBB+iFV3Ekp0Ljb1V4ZVke47/QjPG4/IY4txaMvcxmrbn6LA1by03G36K8+Uk3KpVbxsqKMUwWyjJVEr2/4cvio6IEgeJIM7ncyTsD2C8LDDfQLX4fxCTEGXsWiybJJ4qcTqUtMI8TYlK6VziTuUB/6m8c1LNiTr66qJ8kb+xRxxi10Tk2U8RtILgAOHTmgzpiDYoxKyx6oVirea0qKEUrIzWKjUzZipIIC5EI8NbzCpFKLObopMfouq6aBqSHEHINBPaExima1aWZkOaU4lcyrhSMIlwuXCVy6QJ264kuXSnHHJjgnEqNzkDh11zMoy5LMqIBZbIn+IqedOEqogF3Pcen+H9ldwKNslRG1/yk6+yF00pJyjXNp/degcLfD8taJ6jTYtF+R2KlknwjIrGPJo29HVF9oYvKxou4jTTpfldTNqJIzla0Bt9Bbf35oXg1cyCRwJu119f/AFt+hRLEuLYYWaHMbaDkvMhJTjyc6aNU04ulHQO4zrWtDQQLkXI7lZvhvC2VVSA8eRnmeOR1sG+5/IFCMUxl00pe47nZXeHsYET3a6uA/wDk/wB1iyzTzqT6NWNSWNpGrxusndP4cflaPK0DyjTYKWGvla0tlGbs7l6dCm/6lgeLyCz+refqEzG+NIGQkA53WsCQNFvtNtqX88UZPCoxPE9RGXkOFiNnDcf1WNrprHXXoequYhWmR5ceZQ6sbcKbhFNFVJ1RWfUoxwVwucQqQwktjbrI7t0HcrNOct7wHiXgwPto4uuTz6I5ZrDHkFLlo9Cxmho6GNsccUY06AuPck7rzrGW0050b4bvxN0+oSx/iN0ps4krOvffUJ1D6sua0ScuKobitG6C1neI0jccuxQ37V0RB1QbWO3RB66my6jZaFChOVlg1SG10+ZRGVPZSud2Voxp2wdEmHu0RaNyFto3N21UsVT1XN0xXsvliSjFQkjyQtMLwwk7K9HRFEoKQBOe5oWfL6yMehFEHGlUL4VekmCqSSLL/XWxqRWfGoy1SvnCizjktePNyFaGkppcnkqJ6uKcc5Ruck5yjc5E46XLhconPTfETI4mzJXTYGFzg1upcQAOpJsF6bwj8PmeE6aoDXEOc2wILQWmxF9jrzQnkUFbDGLk6QP4Oo4m0c8zmhz8jmt7Eiwt7rUnE3zNYwvyRsa1hdY2uABoBuVSxKCMAQxAMa0eI/lmN/I0fS5WowWvgjgY11vKL3sDqdyvIy5VObi5Vf8AKPQjBwinQJm4fb4XixSPcOr2ENPI8rj1WKxQFrv73stnxJxg0t8OLRo6f2WRpaf7RPG1xsHPAcf9vzO/IFZsvHkljLY22veFcF4S8SMS1Engxu+QWvI8fiAOw780Qqvh7ERnpppCW6j5XG/dtgtjNTwTgWLbtAAadrcgAmswljTdrsgG4vsOxWtYEtJJrz5/8/sR+s/x9jxyvzglrwWPG469x1CBz1Dr6lbfjPEo3SOaLOAOh2I7g8l57Wza9eh/qp4lKLpdDSqWyQTJ1HSSVErYohme82A/c9kMdOV6N8KmNia+pcLuvlb2A3VpVD3SErwGYvhtRUcQNSfFlIubmzB6Dp3QasoKXXwD4Z6A3afZVuNuInTTO10/bksk6ocDujPD9Z38CqfEIYjSvaC5zdL2zDZCHSW2RKLGSW5H+ZvQoPWxWN2bdFSGNw6FlJSJPFVetf5Sq/2oKtUVN9ArpSbEqiKiF3ao3G1BII3N1sUSp6oFUn2K9ltzVWmpQ71Vpr0iF3YvQLLHjSySJ2SSDWaqev5BVHTqqZU10i8RQ8krJ3TKtNVKvPOh81QtGPDZ1lmaqULK2xQ+SZM8RboYqBYfjqbqYuugdNUIjHMtEUcSPULynvcoXuTgI3OXE0lOj3FtdRoiceicE8Gg2lleI8gDjZoLrOuQATsbc9wtFPmlldHTve2MnM5twIwAAC4i2mg9/dAKXEXNY64cPEyEXFvlYG5fyWm4Nqo2g+IAc5dmv2AsPzJXiZc8pz4N0enDGox5dk+FYVBKXeK9xI+Vw0bba4HS91V4gwV0Lfu/NFbcG5b69v0R99M108bGOa2PK8giw0J8zbcjexUWN1EcEJja/O5zr36WXTwpY3y/X5/c6OV8tfoeasjLn5RdzidAASSegA3RCo4ZrYQJvBeA3XdpPe7Qb7XWzwDBfDpzOwDxpCbOt8jL2sOl9yfRXTWTQD7wZgfdp9FLHhSVyvoaWWn7Tz8Y2612kg82nQhDavimaxaXHVaziOminPij7t+2YG4t0cDuF5/jMZYdbEciNkIR4SpbQZNSVlWeqLjqhlU7VOkmUDGl7g0akkAepW+NkaoiEZJ0BPoLrQ4DjhiidEbjW4vovU6GgpsKomWY18sjQXvcASSRqOwHRYTHaqCpJ8gY7k5umq7Lxl7QKXyZypqszrlQ5lFWwOitmNwdiP3UTKhasb4ohJWWHJWUXjJGVNKSAkBq5lpLDmiFFSABD66S8gRSlkTfCCyd0apT0PNu6IphaiIDoKi2h3VxsqbU0gcO6HGoLDZySvA3YVzhdQg4kFxDjLwGjRmRRSTKJ0ijLlgUCBHNIqkhVuQKlO5asZxXe5NBScU1pWtI4njcr8MqHMVqNyBxddImFyZmXE6AdXpfwr4I8R5qJ22Y0eTNzPVZngXAhPUAyC8bdT0J5Be24VMJnGOPyxRAXtzPIfus+TKk+C2ysINrkQ1vDbZwWtDWjlf8jZY7EcCno3WPnYdczLm3tvot7LQysdmBv0I/zRC+LMXy5Wm2YN19V5mXFBQbkmpG7HlfJLtGNqZ36Wddp1BCmZQyvALWvdfawJvboeaO8N4O2UOqJWjIzZmzXv6kdB+au1vEL3ttlAF/JZvyluxH+c1GGDnHlJ0n1oec1GVRQMwLjEwgRSCzm6FjgQbciLrRx8TU0gs4gA7td+xCB4nQU9VCHP8A4jdwbh7D/tcNxzF/ovPMUzxHLJ/4vBuD79VePPElG7RJxjPa7NdxxisAAbT+5C85q3kg3TpagncqrU1Olk9+F2KkD5CpsLqAyZjj/K4H6IpwtwlNXy5IhYDV7z8rR36nstliPwjhiFjUOL7amwAv6K8qUbYb3RzE+I2TMDXbLM1eH/zMNx+ahxLBp6Y/9xn4m/uFUixItOlwehU8apCSRHNfUH6FDZ6S2rfoi09YH7jXqqrnBal0SBP2u26jkruiixH5tFboaMblV4RqzmygIXON7K3DOW6OFkWEdgopYQ7cIt3oWzkNSrAeChUkLmHTZSx1KS2g1YQJQTGBqFedVaIXK/O7sjDcrClRUXURbSC2ySp9VBsIucm5kk1wWFGYbNKh80lypqhyply1Y4/Jw4rrQuXXWqwSVoVhigYrEYSs4nA0R7g3hw1lS1lvLcZvTog0EJc4NaLlxAHqV7jw1hkWHUrXaGUi7jzuVHLlUI2x4QcmXpMDipG5WBo05KlgeLeAXG2jnX66W5qelYZPv6i5a4+RmouPxHt0CLVeHU0kLnsYGkDcCxaeS8ynObnF01vfZvTioqMkUsR48Y1vkHm9VhKqudK8vdrdTYhRuMrWMGdz3ZW5dyT16LS4dw/SMOScmV/8waSI2noLWLvU/RQlLJ6jTY/GGItcL4xH4IY75SCD2NzqjFPho2IDmO5jUX6g8iszj/CngAy0l8h1MdyQTbdhOzu2x7LJDjGeLZx9iR7EcituK8aUJLohNKXuj8m14voBTN8UOBvoRsSOtuy8vrsTL7g6tPIqXFuJZZ/ncT7oTnTSUduhY2D53WKhJupK11yn02EzvbmZFI5o/mDSR9U0VqylnsfCc7KGjaGgZnMzOPMuIusHjfEUr5CS47lOjx10kQYbh7RYtOh09UEmmuTfdJ6dOWpfAmTW0XKfiCRp3v2KH45J47s4sHc7bKJzVwFbVjSIcmCjUlujkx9doruJwXbfohNPDmR4xGuyGZ9yidHNopGYeLKGeiLdW/RFuxbCTJLrrmIXBV9VejqEL8golt1Q+to7at0V8SqCrl0KVvwFAFzyd1co2KnYq3SyWV59BYSDUlGJUlHkLRKwrkp0UMUqjqJ1BRdkSrUvVYFKWS5TWrdGNI4kCkYo2onhkTADJIMzWmwbtmcdh6dUWFDqPDnv1a3TqdB9VebhLhzb6XVeSse/c2HJo0aB0AVnDaF00rY27uNlCTfyP7Qtwxg8j6mOwtY3udvRb/iFsocM/wAostDwfwzT0zBHlEstru2cW9z0Rb7BTzktey/Tdefmissou/wasTWO7Q/DsUhdGGkgWaBra1kF4nxeNjSyM7722uhvEWGGBx8M+Qfygm7eflvuOyGYBgUtW4kGzAbGR17X6DqVlnknJ/TrfRZY4r33oLcEtaagvcdQwhvYu0v9NPdaCLh1oc7k43IJ59vRCZuC5IPvIZg6wNw5uVhHTMCbbb6rlHxnkPhzD5TbfUe/MK+BfTjwyKn/AJEye73QY+pErHOab2A2Xm/FLml5LdHc+h9e69OxnjambCcpzPIIFwLi68hr6nxHlx5lV4pfIikwSKoc9FFLVDkmV8eqqBhOwJ9AqRgns6zVcAcPNrKoCX+Gyznjrro1ewcR8R09KwRMDQANmgAAdF5BwNivg57aO/UJ2OYkZXkk3XK5ScAS1TDWNVtPVa2yP5PGh9+qyuKU7orZyHA7EfuoCSEnzZhYqiwKPQn1L7IG1CkEgVGemLdW7dFE2sCtbQlJluuf5ShuGrlXW3Fgq9HPZHi3FsJoW7JhFlBDUKcPBSWmLRUqaPNq1VPFLdHfVFg1RVUIIXX5Cil9tHVVpqgv0GyrTR2dZWaQBU4qKsJZpaVWnUrSNV2EqV7LpWxSmaDo5cVmxSQsIJEygnnUb3qIuWiMF2QHAp7VGFKwJ2cSMC0VDgznxMcSGRguLpHfKNbbczpawQOCNajGqz7zwbZYoSWNba2rdC8/7j+6jO9UPCt2QxU0bnBkYke42AO1yejV6JhXw3MOWVxcx9ri5AsTvorPw8wqnpmCocM8nK+7b9L7aLRVmMS1TrRNuB9PrzK83N6iNVF78GrFid3JaCHCsbIo3MvZzjq4nU26lX8QxOGEZzlLxtl5+qxFfBPA4Z9ARuDex6FB5p3vNnFY/wCqeNcWtr/Zolgt8k9MsYxjLpnk33K3tHRtfSthiOUsttuep9Sblec1mFyMbmLHgdcjrW9bKbDuKDydZw3791LFlSm3JafY08bcUo/BvW088DTZ2Zltf7jkvO+J6lhcdg4XsR+h7IhiHxClyFhO+hWHq6wvcSea2tRn09GeLcSrJU62umSTWCrVe6oySuVFBy+RmaPhDhw19UGE2jb5pD2vsO5XrGNVdHRRiGOKMACx8oufU7leffDXFBFHNycSD3tZVuJMRMkhN7rk3KTxiS1TJcYggnJfDaOQbEaA+oWcqo3st4jct9jyPokJiDcJ1bVGZoa83sNOyvDE4E3NMibJdNcxDvEMZs7bkVbZUrTy8knEnQDFGWfpzRozIJXyXkQi/cMkcp6HNup34X0VylborDl3JgsChzmmxVmKoVyWEOCHVFOWbbINKQ1l5lQuTVGiGCpTHTX9EPps478ziVM2hO43XKUInCmb3QGUWTlvzD3V6GpBT3NB0IVOWhI1Z9OSGgF7Mkg/21w5JI0w8QY4rgXFLHEtXRATGKyxi7HGrAmtoLD2F/qluwnIwtRhmHfay1zy5oBZHJKRduujC48uQuh/DeByVcoY0XFxmda1h69V7FFhsNDSGna9rhI20oyAvIIsQXk6ewWfNkUUUxxtguDCJYx4Wa4a5sWbvzPtmC3jcHMAb4dtCwWG976k9b3XnmH8QujYGE3DCWk/iAPlce9iEcdxu5ufXUkFp55SBax6LxIyxqTb7PQlGVKg7xZijB5CASB5vVVaSjZRxCd7M8r/AJbi4jHbv1KxbsUL5A55uMwJ9L6r06lrI52ZCRcfL/RWxNZskpPv4EncIKK6+SrT8SsmGWQWvzH9FleK+EWAmSlyB5G1yAbm502Dj9N1ravh4O28rxz5O9f6rOcRxvp2ebTor5Ll/wAlvyShLi/a/wCx55VXNw4FrhuDuChEj0YrsU8T5hfoeYQGWXVQWNx0X5KWy5guByVc7YoxqTqeTRzJXqn+g8PpYsjwJZbeYuNzfsOQQn4dtbBTmXTPITr0A0AQHHquYyOcSdyboqfJOK/AslTOY7w8IneJS6HmwbEdFm5pDc5gWuG7TuEThx17SL6qvjUrJznBtJ16+qrijLHt7JyakDybpllUFVY2doVMJlvUk0Z3EdPEHCxQSScxmx9kZdJogdYc0gQi7kMuhxr3HYKDwnXuQi1PTDorBpwmTrpAbK1JLcK+3UIdJSlpu36KWnqUj0AsSR22StcarviKOWUAIP7HIDTQechTNpbiyiDszronAxUbfQWUhSObtqpYp0QtooJ6cO23SPZyZ1koKdbuh0j8m6Tq020uhxYRtS4ZikqpaUlbicMjhU7WJJKnZElY3kkxl11Jcg0bzg7FPs0JAFnuO/qtDSYfLUzsYXj7w6HX307JJLDmxpvZpx6RucC4WYwztsP4jcrnNa8lrWBp32u4OWQ4nwfwnG1iL2FhYDtbkkksvqoRjiTX3LYJNzaf2L2CfDuSaMPlkEYcAQ1oDnWIuCXbD81DiED6Q5WvLsumttQPTmupKOTFHHCE49vsbHN5JSjIhg+JUjBbX31Wd4i4wkqj5jpyCSS2x2tmZ6Zn86GVb9Ukkq3IZdGn4fxt3gCMbsv9FZjx/WzhdJJZlFLK0PJ6I6umjlF2eU/ks9URlpsUklrg90RZUngDghzpiw2PskkrpW6AclrtFWpRmfcriSrxUYujg5EnOC6kkEONd1VHEIsnmb7pJI/JyKzMQPRMlc5/YJJItKPQw2JpadUTheupJZP5AWQLqNzbJJJTiCsiuw35aqhTtukkmXQS4IEkkkeKFs//2Q=="/>
          <p:cNvSpPr>
            <a:spLocks noChangeAspect="1" noChangeArrowheads="1"/>
          </p:cNvSpPr>
          <p:nvPr/>
        </p:nvSpPr>
        <p:spPr bwMode="auto">
          <a:xfrm>
            <a:off x="77788" y="-839788"/>
            <a:ext cx="2619375" cy="1743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solidFill>
                <a:srgbClr val="626469"/>
              </a:solidFill>
            </a:endParaRPr>
          </a:p>
        </p:txBody>
      </p:sp>
      <p:sp>
        <p:nvSpPr>
          <p:cNvPr id="17" name="TextBox 16"/>
          <p:cNvSpPr txBox="1"/>
          <p:nvPr/>
        </p:nvSpPr>
        <p:spPr>
          <a:xfrm>
            <a:off x="928688" y="4847771"/>
            <a:ext cx="1785937" cy="67741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spcBef>
                <a:spcPts val="600"/>
              </a:spcBef>
              <a:defRPr/>
            </a:pPr>
            <a:r>
              <a:rPr lang="en-US" sz="2000" dirty="0">
                <a:solidFill>
                  <a:srgbClr val="FFFFFF"/>
                </a:solidFill>
              </a:rPr>
              <a:t>Biotechnology</a:t>
            </a:r>
          </a:p>
        </p:txBody>
      </p:sp>
      <p:sp>
        <p:nvSpPr>
          <p:cNvPr id="19" name="TextBox 18"/>
          <p:cNvSpPr txBox="1"/>
          <p:nvPr/>
        </p:nvSpPr>
        <p:spPr>
          <a:xfrm>
            <a:off x="6429375" y="1423295"/>
            <a:ext cx="1928813" cy="898979"/>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spcBef>
                <a:spcPts val="600"/>
              </a:spcBef>
              <a:defRPr/>
            </a:pPr>
            <a:r>
              <a:rPr lang="en-US" sz="2000" dirty="0">
                <a:solidFill>
                  <a:srgbClr val="FFFFFF"/>
                </a:solidFill>
              </a:rPr>
              <a:t>Crop Protection</a:t>
            </a:r>
          </a:p>
        </p:txBody>
      </p:sp>
      <p:sp>
        <p:nvSpPr>
          <p:cNvPr id="21" name="TextBox 20"/>
          <p:cNvSpPr txBox="1"/>
          <p:nvPr/>
        </p:nvSpPr>
        <p:spPr>
          <a:xfrm>
            <a:off x="5857875" y="4847771"/>
            <a:ext cx="2571750" cy="677415"/>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anchor="ctr"/>
          <a:lstStyle/>
          <a:p>
            <a:pPr algn="ctr">
              <a:spcBef>
                <a:spcPts val="600"/>
              </a:spcBef>
              <a:defRPr/>
            </a:pPr>
            <a:r>
              <a:rPr lang="en-US" sz="2000" dirty="0">
                <a:solidFill>
                  <a:srgbClr val="FFFFFF"/>
                </a:solidFill>
              </a:rPr>
              <a:t>Adjacent Technology</a:t>
            </a:r>
          </a:p>
        </p:txBody>
      </p:sp>
      <p:sp>
        <p:nvSpPr>
          <p:cNvPr id="15" name="Oval 14"/>
          <p:cNvSpPr/>
          <p:nvPr/>
        </p:nvSpPr>
        <p:spPr bwMode="auto">
          <a:xfrm>
            <a:off x="3536156" y="2928937"/>
            <a:ext cx="2143125" cy="714375"/>
          </a:xfrm>
          <a:prstGeom prst="ellipse">
            <a:avLst/>
          </a:prstGeom>
          <a:ln>
            <a:headEnd type="none" w="sm" len="sm"/>
            <a:tailEnd type="none" w="sm" len="sm"/>
          </a:ln>
        </p:spPr>
        <p:style>
          <a:lnRef idx="2">
            <a:schemeClr val="accent2">
              <a:shade val="50000"/>
            </a:schemeClr>
          </a:lnRef>
          <a:fillRef idx="1">
            <a:schemeClr val="accent2"/>
          </a:fillRef>
          <a:effectRef idx="0">
            <a:schemeClr val="accent2"/>
          </a:effectRef>
          <a:fontRef idx="minor">
            <a:schemeClr val="lt1"/>
          </a:fontRef>
        </p:style>
        <p:txBody>
          <a:bodyPr lIns="0" tIns="0" rIns="0" bIns="0"/>
          <a:lstStyle/>
          <a:p>
            <a:pPr algn="ctr" eaLnBrk="0" hangingPunct="0">
              <a:spcAft>
                <a:spcPts val="600"/>
              </a:spcAft>
              <a:defRPr/>
            </a:pPr>
            <a:r>
              <a:rPr lang="en-US" sz="1800" dirty="0">
                <a:solidFill>
                  <a:srgbClr val="FFFFFF"/>
                </a:solidFill>
              </a:rPr>
              <a:t>Integrated Corn Solution</a:t>
            </a:r>
          </a:p>
        </p:txBody>
      </p:sp>
      <p:sp>
        <p:nvSpPr>
          <p:cNvPr id="19471" name="Footer Placeholder 3"/>
          <p:cNvSpPr>
            <a:spLocks noGrp="1"/>
          </p:cNvSpPr>
          <p:nvPr>
            <p:ph type="ftr" sz="quarter" idx="4294967295"/>
          </p:nvPr>
        </p:nvSpPr>
        <p:spPr>
          <a:xfrm>
            <a:off x="792163" y="6440488"/>
            <a:ext cx="5753100" cy="37623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tabLst>
                <a:tab pos="441325" algn="l"/>
              </a:tabLst>
              <a:defRPr sz="1000">
                <a:solidFill>
                  <a:schemeClr val="tx1"/>
                </a:solidFill>
                <a:latin typeface="Arial" charset="0"/>
              </a:defRPr>
            </a:lvl1pPr>
            <a:lvl2pPr marL="742950" indent="-285750" eaLnBrk="0" hangingPunct="0">
              <a:tabLst>
                <a:tab pos="441325" algn="l"/>
              </a:tabLst>
              <a:defRPr sz="1000">
                <a:solidFill>
                  <a:schemeClr val="tx1"/>
                </a:solidFill>
                <a:latin typeface="Arial" charset="0"/>
              </a:defRPr>
            </a:lvl2pPr>
            <a:lvl3pPr marL="1143000" indent="-228600" eaLnBrk="0" hangingPunct="0">
              <a:tabLst>
                <a:tab pos="441325" algn="l"/>
              </a:tabLst>
              <a:defRPr sz="1000">
                <a:solidFill>
                  <a:schemeClr val="tx1"/>
                </a:solidFill>
                <a:latin typeface="Arial" charset="0"/>
              </a:defRPr>
            </a:lvl3pPr>
            <a:lvl4pPr marL="1600200" indent="-228600" eaLnBrk="0" hangingPunct="0">
              <a:tabLst>
                <a:tab pos="441325" algn="l"/>
              </a:tabLst>
              <a:defRPr sz="1000">
                <a:solidFill>
                  <a:schemeClr val="tx1"/>
                </a:solidFill>
                <a:latin typeface="Arial" charset="0"/>
              </a:defRPr>
            </a:lvl4pPr>
            <a:lvl5pPr marL="2057400" indent="-228600" eaLnBrk="0" hangingPunct="0">
              <a:tabLst>
                <a:tab pos="441325" algn="l"/>
              </a:tabLst>
              <a:defRPr sz="1000">
                <a:solidFill>
                  <a:schemeClr val="tx1"/>
                </a:solidFill>
                <a:latin typeface="Arial" charset="0"/>
              </a:defRPr>
            </a:lvl5pPr>
            <a:lvl6pPr marL="2514600" indent="-228600" eaLnBrk="0" fontAlgn="base" hangingPunct="0">
              <a:spcBef>
                <a:spcPct val="0"/>
              </a:spcBef>
              <a:spcAft>
                <a:spcPct val="0"/>
              </a:spcAft>
              <a:tabLst>
                <a:tab pos="441325" algn="l"/>
              </a:tabLst>
              <a:defRPr sz="1000">
                <a:solidFill>
                  <a:schemeClr val="tx1"/>
                </a:solidFill>
                <a:latin typeface="Arial" charset="0"/>
              </a:defRPr>
            </a:lvl6pPr>
            <a:lvl7pPr marL="2971800" indent="-228600" eaLnBrk="0" fontAlgn="base" hangingPunct="0">
              <a:spcBef>
                <a:spcPct val="0"/>
              </a:spcBef>
              <a:spcAft>
                <a:spcPct val="0"/>
              </a:spcAft>
              <a:tabLst>
                <a:tab pos="441325" algn="l"/>
              </a:tabLst>
              <a:defRPr sz="1000">
                <a:solidFill>
                  <a:schemeClr val="tx1"/>
                </a:solidFill>
                <a:latin typeface="Arial" charset="0"/>
              </a:defRPr>
            </a:lvl7pPr>
            <a:lvl8pPr marL="3429000" indent="-228600" eaLnBrk="0" fontAlgn="base" hangingPunct="0">
              <a:spcBef>
                <a:spcPct val="0"/>
              </a:spcBef>
              <a:spcAft>
                <a:spcPct val="0"/>
              </a:spcAft>
              <a:tabLst>
                <a:tab pos="441325" algn="l"/>
              </a:tabLst>
              <a:defRPr sz="1000">
                <a:solidFill>
                  <a:schemeClr val="tx1"/>
                </a:solidFill>
                <a:latin typeface="Arial" charset="0"/>
              </a:defRPr>
            </a:lvl8pPr>
            <a:lvl9pPr marL="3886200" indent="-228600" eaLnBrk="0" fontAlgn="base" hangingPunct="0">
              <a:spcBef>
                <a:spcPct val="0"/>
              </a:spcBef>
              <a:spcAft>
                <a:spcPct val="0"/>
              </a:spcAft>
              <a:tabLst>
                <a:tab pos="441325" algn="l"/>
              </a:tabLst>
              <a:defRPr sz="1000">
                <a:solidFill>
                  <a:schemeClr val="tx1"/>
                </a:solidFill>
                <a:latin typeface="Arial" charset="0"/>
              </a:defRPr>
            </a:lvl9pPr>
          </a:lstStyle>
          <a:p>
            <a:r>
              <a:rPr lang="en-US" sz="800" dirty="0" smtClean="0">
                <a:solidFill>
                  <a:srgbClr val="FFFFFF"/>
                </a:solidFill>
              </a:rPr>
              <a:t>Classification: Public</a:t>
            </a:r>
            <a:endParaRPr lang="en-US" sz="800" dirty="0">
              <a:solidFill>
                <a:srgbClr val="FFFFFF"/>
              </a:solidFill>
            </a:endParaRPr>
          </a:p>
        </p:txBody>
      </p:sp>
      <p:sp>
        <p:nvSpPr>
          <p:cNvPr id="18" name="Footer Placeholder 3"/>
          <p:cNvSpPr txBox="1">
            <a:spLocks/>
          </p:cNvSpPr>
          <p:nvPr/>
        </p:nvSpPr>
        <p:spPr>
          <a:xfrm>
            <a:off x="792163" y="6346209"/>
            <a:ext cx="5753100" cy="487212"/>
          </a:xfrm>
          <a:prstGeom prst="rect">
            <a:avLst/>
          </a:prstGeom>
        </p:spPr>
        <p:txBody>
          <a:bodyPr>
            <a:normAutofit/>
          </a:bodyPr>
          <a:lstStyle>
            <a:defPPr>
              <a:defRPr lang="en-US"/>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defRPr/>
            </a:pPr>
            <a:r>
              <a:rPr lang="en-US" sz="1050" dirty="0" smtClean="0">
                <a:solidFill>
                  <a:srgbClr val="626469"/>
                </a:solidFill>
              </a:rPr>
              <a:t>Classification: PUBLIC</a:t>
            </a:r>
            <a:endParaRPr lang="en-US" sz="1050" dirty="0">
              <a:solidFill>
                <a:srgbClr val="626469"/>
              </a:solidFill>
            </a:endParaRPr>
          </a:p>
        </p:txBody>
      </p:sp>
      <p:sp>
        <p:nvSpPr>
          <p:cNvPr id="20" name="Oval 19"/>
          <p:cNvSpPr/>
          <p:nvPr/>
        </p:nvSpPr>
        <p:spPr bwMode="auto">
          <a:xfrm>
            <a:off x="2866034" y="2322274"/>
            <a:ext cx="3377604" cy="1814297"/>
          </a:xfrm>
          <a:prstGeom prst="ellipse">
            <a:avLst/>
          </a:prstGeom>
          <a:noFill/>
          <a:ln>
            <a:noFill/>
            <a:headEnd type="none" w="sm" len="sm"/>
            <a:tailEnd type="none" w="sm" len="sm"/>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2">
              <a:shade val="50000"/>
            </a:schemeClr>
          </a:lnRef>
          <a:fillRef idx="1">
            <a:schemeClr val="accent2"/>
          </a:fillRef>
          <a:effectRef idx="0">
            <a:schemeClr val="accent2"/>
          </a:effectRef>
          <a:fontRef idx="minor">
            <a:schemeClr val="lt1"/>
          </a:fontRef>
        </p:style>
        <p:txBody>
          <a:bodyPr lIns="0" tIns="0" rIns="0" bIns="0" anchor="t"/>
          <a:lstStyle/>
          <a:p>
            <a:pPr algn="ctr" eaLnBrk="0" hangingPunct="0">
              <a:spcAft>
                <a:spcPts val="600"/>
              </a:spcAft>
              <a:defRPr/>
            </a:pPr>
            <a:r>
              <a:rPr lang="en-US" sz="1800" b="1" dirty="0" smtClean="0">
                <a:solidFill>
                  <a:schemeClr val="tx1"/>
                </a:solidFill>
                <a:effectLst>
                  <a:outerShdw blurRad="38100" dist="38100" dir="2700000" algn="tl">
                    <a:srgbClr val="000000">
                      <a:alpha val="43137"/>
                    </a:srgbClr>
                  </a:outerShdw>
                </a:effectLst>
              </a:rPr>
              <a:t>Crop Husbandry</a:t>
            </a:r>
            <a:endParaRPr lang="en-US" sz="1800" b="1"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5645706"/>
      </p:ext>
    </p:extLst>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848" y="609037"/>
            <a:ext cx="9043042" cy="4841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1"/>
          <p:cNvSpPr>
            <a:spLocks/>
          </p:cNvSpPr>
          <p:nvPr/>
        </p:nvSpPr>
        <p:spPr bwMode="auto">
          <a:xfrm>
            <a:off x="330343" y="220373"/>
            <a:ext cx="8362396" cy="58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r>
              <a:rPr lang="en-US" sz="2200" b="1" dirty="0">
                <a:solidFill>
                  <a:srgbClr val="4F961E"/>
                </a:solidFill>
                <a:latin typeface="Helvetica Neue" charset="0"/>
                <a:ea typeface="Helvetica Neue" charset="0"/>
                <a:cs typeface="Helvetica Neue" charset="0"/>
                <a:sym typeface="Helvetica Neue" charset="0"/>
              </a:rPr>
              <a:t>Start Right: A new experience in growing corn for a better life.</a:t>
            </a:r>
          </a:p>
        </p:txBody>
      </p:sp>
      <p:sp>
        <p:nvSpPr>
          <p:cNvPr id="4" name="TextBox 3"/>
          <p:cNvSpPr txBox="1"/>
          <p:nvPr/>
        </p:nvSpPr>
        <p:spPr>
          <a:xfrm>
            <a:off x="5664872" y="2861810"/>
            <a:ext cx="3302946" cy="1641950"/>
          </a:xfrm>
          <a:prstGeom prst="rect">
            <a:avLst/>
          </a:prstGeom>
          <a:solidFill>
            <a:schemeClr val="bg1"/>
          </a:solidFill>
        </p:spPr>
        <p:txBody>
          <a:bodyPr wrap="square" lIns="91430" tIns="45716" rIns="91430" bIns="45716" rtlCol="0">
            <a:noAutofit/>
          </a:bodyPr>
          <a:lstStyle/>
          <a:p>
            <a:pPr marL="91430">
              <a:spcAft>
                <a:spcPts val="100"/>
              </a:spcAft>
            </a:pPr>
            <a:r>
              <a:rPr lang="en-US" sz="1600" b="1" dirty="0">
                <a:solidFill>
                  <a:srgbClr val="4F961E"/>
                </a:solidFill>
                <a:latin typeface="Helvetica Neue"/>
                <a:cs typeface="Arial" charset="0"/>
              </a:rPr>
              <a:t>2. Adopt Technology in the Bag</a:t>
            </a:r>
          </a:p>
          <a:p>
            <a:pPr marL="91430">
              <a:spcAft>
                <a:spcPts val="600"/>
              </a:spcAft>
            </a:pPr>
            <a:r>
              <a:rPr lang="en-US" sz="1300" dirty="0" smtClean="0">
                <a:solidFill>
                  <a:srgbClr val="626469"/>
                </a:solidFill>
                <a:latin typeface="Helvetica Neue"/>
                <a:cs typeface="Arial" charset="0"/>
              </a:rPr>
              <a:t>Use </a:t>
            </a:r>
            <a:r>
              <a:rPr lang="en-US" sz="1300" dirty="0">
                <a:solidFill>
                  <a:srgbClr val="626469"/>
                </a:solidFill>
                <a:latin typeface="Helvetica Neue"/>
                <a:cs typeface="Arial" charset="0"/>
              </a:rPr>
              <a:t>NK® hybrids with </a:t>
            </a:r>
            <a:r>
              <a:rPr lang="en-US" sz="1300" dirty="0" smtClean="0">
                <a:solidFill>
                  <a:srgbClr val="626469"/>
                </a:solidFill>
                <a:latin typeface="Helvetica Neue"/>
                <a:cs typeface="Arial" charset="0"/>
              </a:rPr>
              <a:t>technologically advanced seed enhancement solutions </a:t>
            </a:r>
          </a:p>
          <a:p>
            <a:pPr marL="91430">
              <a:spcAft>
                <a:spcPts val="600"/>
              </a:spcAft>
            </a:pPr>
            <a:r>
              <a:rPr lang="en-US" sz="1300" dirty="0" smtClean="0">
                <a:solidFill>
                  <a:srgbClr val="626469"/>
                </a:solidFill>
                <a:latin typeface="Helvetica Neue"/>
                <a:cs typeface="Arial" charset="0"/>
              </a:rPr>
              <a:t>Popular NK Brands </a:t>
            </a:r>
          </a:p>
          <a:p>
            <a:pPr marL="91430">
              <a:spcAft>
                <a:spcPts val="600"/>
              </a:spcAft>
            </a:pPr>
            <a:r>
              <a:rPr lang="en-US" sz="1300" dirty="0" smtClean="0">
                <a:solidFill>
                  <a:srgbClr val="626469"/>
                </a:solidFill>
                <a:latin typeface="Helvetica Neue"/>
                <a:cs typeface="Arial" charset="0"/>
              </a:rPr>
              <a:t>Advanced Seed Care Solution </a:t>
            </a:r>
          </a:p>
          <a:p>
            <a:pPr marL="91430">
              <a:spcAft>
                <a:spcPts val="600"/>
              </a:spcAft>
            </a:pPr>
            <a:r>
              <a:rPr lang="en-US" sz="1300" dirty="0" smtClean="0">
                <a:solidFill>
                  <a:srgbClr val="626469"/>
                </a:solidFill>
                <a:latin typeface="Helvetica Neue"/>
                <a:cs typeface="Arial" charset="0"/>
              </a:rPr>
              <a:t>Recommended  Agronomy &amp; Fertilization</a:t>
            </a:r>
          </a:p>
        </p:txBody>
      </p:sp>
      <p:sp>
        <p:nvSpPr>
          <p:cNvPr id="5" name="TextBox 4"/>
          <p:cNvSpPr txBox="1"/>
          <p:nvPr/>
        </p:nvSpPr>
        <p:spPr>
          <a:xfrm>
            <a:off x="5246328" y="4464065"/>
            <a:ext cx="3850562" cy="1377177"/>
          </a:xfrm>
          <a:prstGeom prst="rect">
            <a:avLst/>
          </a:prstGeom>
          <a:solidFill>
            <a:schemeClr val="bg1"/>
          </a:solidFill>
        </p:spPr>
        <p:txBody>
          <a:bodyPr wrap="square" lIns="91430" tIns="45716" rIns="91430" bIns="45716" rtlCol="0">
            <a:noAutofit/>
          </a:bodyPr>
          <a:lstStyle/>
          <a:p>
            <a:pPr>
              <a:spcBef>
                <a:spcPts val="0"/>
              </a:spcBef>
              <a:spcAft>
                <a:spcPts val="600"/>
              </a:spcAft>
            </a:pPr>
            <a:r>
              <a:rPr lang="en-US" sz="1600" b="1" dirty="0" smtClean="0">
                <a:solidFill>
                  <a:srgbClr val="4F961E"/>
                </a:solidFill>
                <a:latin typeface="Helvetica Neue"/>
                <a:cs typeface="Arial" charset="0"/>
              </a:rPr>
              <a:t>3</a:t>
            </a:r>
            <a:r>
              <a:rPr lang="en-US" sz="1600" b="1" dirty="0">
                <a:solidFill>
                  <a:srgbClr val="4F961E"/>
                </a:solidFill>
                <a:latin typeface="Helvetica Neue"/>
                <a:cs typeface="Arial" charset="0"/>
              </a:rPr>
              <a:t>. Establish Strong Crop Foundation for higher </a:t>
            </a:r>
            <a:r>
              <a:rPr lang="en-US" sz="1600" b="1" dirty="0" smtClean="0">
                <a:solidFill>
                  <a:srgbClr val="4F961E"/>
                </a:solidFill>
                <a:latin typeface="Helvetica Neue"/>
                <a:cs typeface="Arial" charset="0"/>
              </a:rPr>
              <a:t>yields</a:t>
            </a:r>
          </a:p>
          <a:p>
            <a:pPr marL="91430">
              <a:spcAft>
                <a:spcPts val="600"/>
              </a:spcAft>
            </a:pPr>
            <a:r>
              <a:rPr lang="en-US" sz="1400" dirty="0" smtClean="0">
                <a:solidFill>
                  <a:srgbClr val="626469"/>
                </a:solidFill>
                <a:latin typeface="Helvetica Neue"/>
                <a:cs typeface="Arial" charset="0"/>
              </a:rPr>
              <a:t>Crop Care Solution through advanced Crop Protection Chemicals </a:t>
            </a:r>
          </a:p>
          <a:p>
            <a:pPr marL="91430">
              <a:spcAft>
                <a:spcPts val="600"/>
              </a:spcAft>
            </a:pPr>
            <a:r>
              <a:rPr lang="en-US" sz="1400" dirty="0" smtClean="0">
                <a:solidFill>
                  <a:srgbClr val="626469"/>
                </a:solidFill>
                <a:latin typeface="Helvetica Neue"/>
                <a:cs typeface="Arial" charset="0"/>
              </a:rPr>
              <a:t>NK® Hybrid           becomes more Smarter &amp; Stronger </a:t>
            </a:r>
          </a:p>
          <a:p>
            <a:pPr>
              <a:spcBef>
                <a:spcPts val="0"/>
              </a:spcBef>
              <a:spcAft>
                <a:spcPts val="600"/>
              </a:spcAft>
            </a:pPr>
            <a:endParaRPr lang="en-US" sz="1600" b="1" dirty="0">
              <a:solidFill>
                <a:srgbClr val="4F961E"/>
              </a:solidFill>
              <a:latin typeface="Helvetica Neue"/>
              <a:cs typeface="Arial" charset="0"/>
            </a:endParaRPr>
          </a:p>
        </p:txBody>
      </p:sp>
      <p:sp>
        <p:nvSpPr>
          <p:cNvPr id="6" name="TextBox 5"/>
          <p:cNvSpPr txBox="1"/>
          <p:nvPr/>
        </p:nvSpPr>
        <p:spPr>
          <a:xfrm>
            <a:off x="0" y="3777262"/>
            <a:ext cx="2533899" cy="1955742"/>
          </a:xfrm>
          <a:prstGeom prst="rect">
            <a:avLst/>
          </a:prstGeom>
          <a:solidFill>
            <a:schemeClr val="bg1"/>
          </a:solidFill>
        </p:spPr>
        <p:txBody>
          <a:bodyPr wrap="square" lIns="91430" tIns="45716" rIns="91430" bIns="45716" rtlCol="0">
            <a:noAutofit/>
          </a:bodyPr>
          <a:lstStyle/>
          <a:p>
            <a:pPr marL="58738">
              <a:spcBef>
                <a:spcPts val="0"/>
              </a:spcBef>
              <a:spcAft>
                <a:spcPts val="100"/>
              </a:spcAft>
            </a:pPr>
            <a:r>
              <a:rPr lang="en-US" sz="1600" b="1" dirty="0">
                <a:solidFill>
                  <a:srgbClr val="4F961E"/>
                </a:solidFill>
                <a:latin typeface="Helvetica Neue"/>
                <a:cs typeface="Arial" charset="0"/>
              </a:rPr>
              <a:t>4. Protect and Boost the yield for higher Q&amp;Q </a:t>
            </a:r>
          </a:p>
          <a:p>
            <a:pPr marL="58738">
              <a:spcBef>
                <a:spcPts val="0"/>
              </a:spcBef>
              <a:spcAft>
                <a:spcPts val="600"/>
              </a:spcAft>
            </a:pPr>
            <a:r>
              <a:rPr lang="en-US" sz="1300" dirty="0" smtClean="0">
                <a:solidFill>
                  <a:srgbClr val="626469"/>
                </a:solidFill>
                <a:latin typeface="Helvetica Neue"/>
                <a:cs typeface="Arial" charset="0"/>
              </a:rPr>
              <a:t>Protect the crop to enhance yield and maximize profitability.</a:t>
            </a:r>
            <a:endParaRPr lang="en-US" sz="1300" dirty="0">
              <a:solidFill>
                <a:srgbClr val="626469"/>
              </a:solidFill>
              <a:latin typeface="Helvetica Neue"/>
              <a:cs typeface="Arial" charset="0"/>
            </a:endParaRPr>
          </a:p>
          <a:p>
            <a:pPr marL="58738">
              <a:spcBef>
                <a:spcPts val="0"/>
              </a:spcBef>
              <a:spcAft>
                <a:spcPts val="600"/>
              </a:spcAft>
            </a:pPr>
            <a:r>
              <a:rPr lang="en-US" sz="1300" dirty="0" smtClean="0">
                <a:solidFill>
                  <a:srgbClr val="626469"/>
                </a:solidFill>
                <a:latin typeface="Helvetica Neue"/>
                <a:cs typeface="Arial" charset="0"/>
              </a:rPr>
              <a:t>More cobs ;  increased cob length and size ; strong crop health</a:t>
            </a:r>
            <a:endParaRPr lang="en-US" sz="1300" dirty="0">
              <a:solidFill>
                <a:srgbClr val="626469"/>
              </a:solidFill>
              <a:latin typeface="Helvetica Neue"/>
              <a:cs typeface="Arial" charset="0"/>
            </a:endParaRPr>
          </a:p>
        </p:txBody>
      </p:sp>
      <p:sp>
        <p:nvSpPr>
          <p:cNvPr id="7" name="Rectangle 6"/>
          <p:cNvSpPr/>
          <p:nvPr/>
        </p:nvSpPr>
        <p:spPr bwMode="auto">
          <a:xfrm>
            <a:off x="2765853" y="2659537"/>
            <a:ext cx="152569" cy="618277"/>
          </a:xfrm>
          <a:prstGeom prst="rect">
            <a:avLst/>
          </a:prstGeom>
          <a:solidFill>
            <a:schemeClr val="bg1"/>
          </a:solidFill>
          <a:ln w="6350" cap="flat" cmpd="sng" algn="ctr">
            <a:solidFill>
              <a:schemeClr val="bg1"/>
            </a:solidFill>
            <a:prstDash val="solid"/>
            <a:round/>
            <a:headEnd type="none" w="sm" len="sm"/>
            <a:tailEnd type="none" w="sm" len="sm"/>
          </a:ln>
          <a:effectLst/>
        </p:spPr>
        <p:txBody>
          <a:bodyPr vert="horz" wrap="square" lIns="91430" tIns="45716" rIns="91430" bIns="45716" numCol="1" rtlCol="0" anchor="t" anchorCtr="0" compatLnSpc="1">
            <a:prstTxWarp prst="textNoShape">
              <a:avLst/>
            </a:prstTxWarp>
          </a:bodyPr>
          <a:lstStyle/>
          <a:p>
            <a:pPr eaLnBrk="0" hangingPunct="0">
              <a:spcAft>
                <a:spcPts val="600"/>
              </a:spcAft>
            </a:pPr>
            <a:endParaRPr lang="en-US" smtClean="0">
              <a:solidFill>
                <a:srgbClr val="626469"/>
              </a:solidFill>
              <a:cs typeface="Arial" charset="0"/>
            </a:endParaRPr>
          </a:p>
        </p:txBody>
      </p:sp>
      <p:sp>
        <p:nvSpPr>
          <p:cNvPr id="9" name="Rectangle 8"/>
          <p:cNvSpPr/>
          <p:nvPr/>
        </p:nvSpPr>
        <p:spPr bwMode="auto">
          <a:xfrm>
            <a:off x="2193353" y="5022505"/>
            <a:ext cx="367842" cy="220328"/>
          </a:xfrm>
          <a:prstGeom prst="rect">
            <a:avLst/>
          </a:prstGeom>
          <a:solidFill>
            <a:schemeClr val="bg1"/>
          </a:solidFill>
          <a:ln w="6350" cap="flat" cmpd="sng" algn="ctr">
            <a:solidFill>
              <a:schemeClr val="bg1"/>
            </a:solidFill>
            <a:prstDash val="solid"/>
            <a:round/>
            <a:headEnd type="none" w="sm" len="sm"/>
            <a:tailEnd type="none" w="sm" len="sm"/>
          </a:ln>
          <a:effectLst/>
        </p:spPr>
        <p:txBody>
          <a:bodyPr vert="horz" wrap="square" lIns="91430" tIns="45716" rIns="91430" bIns="45716" numCol="1" rtlCol="0" anchor="t" anchorCtr="0" compatLnSpc="1">
            <a:prstTxWarp prst="textNoShape">
              <a:avLst/>
            </a:prstTxWarp>
          </a:bodyPr>
          <a:lstStyle/>
          <a:p>
            <a:pPr eaLnBrk="0" hangingPunct="0">
              <a:spcAft>
                <a:spcPts val="600"/>
              </a:spcAft>
            </a:pPr>
            <a:endParaRPr lang="en-US" smtClean="0">
              <a:solidFill>
                <a:srgbClr val="626469"/>
              </a:solidFill>
              <a:cs typeface="Arial" charset="0"/>
            </a:endParaRPr>
          </a:p>
        </p:txBody>
      </p:sp>
      <p:sp>
        <p:nvSpPr>
          <p:cNvPr id="11" name="Rectangle 10"/>
          <p:cNvSpPr/>
          <p:nvPr/>
        </p:nvSpPr>
        <p:spPr bwMode="auto">
          <a:xfrm>
            <a:off x="2869179" y="2538838"/>
            <a:ext cx="455683" cy="272498"/>
          </a:xfrm>
          <a:prstGeom prst="rect">
            <a:avLst/>
          </a:prstGeom>
          <a:solidFill>
            <a:schemeClr val="bg1"/>
          </a:solidFill>
          <a:ln w="6350" cap="flat" cmpd="sng" algn="ctr">
            <a:noFill/>
            <a:prstDash val="solid"/>
            <a:round/>
            <a:headEnd type="none" w="sm" len="sm"/>
            <a:tailEnd type="none" w="sm" len="sm"/>
          </a:ln>
          <a:effectLst/>
        </p:spPr>
        <p:txBody>
          <a:bodyPr vert="horz" wrap="square" lIns="91430" tIns="45716" rIns="91430" bIns="45716" numCol="1" rtlCol="0" anchor="t" anchorCtr="0" compatLnSpc="1">
            <a:prstTxWarp prst="textNoShape">
              <a:avLst/>
            </a:prstTxWarp>
          </a:bodyPr>
          <a:lstStyle/>
          <a:p>
            <a:pPr eaLnBrk="0" hangingPunct="0">
              <a:spcAft>
                <a:spcPts val="600"/>
              </a:spcAft>
            </a:pPr>
            <a:endParaRPr lang="en-US" smtClean="0">
              <a:solidFill>
                <a:srgbClr val="626469"/>
              </a:solidFill>
            </a:endParaRPr>
          </a:p>
        </p:txBody>
      </p:sp>
      <p:pic>
        <p:nvPicPr>
          <p:cNvPr id="12" name="Picture 3"/>
          <p:cNvPicPr>
            <a:picLocks noChangeAspect="1" noChangeArrowheads="1"/>
          </p:cNvPicPr>
          <p:nvPr/>
        </p:nvPicPr>
        <p:blipFill>
          <a:blip r:embed="rId3" cstate="print"/>
          <a:stretch>
            <a:fillRect/>
          </a:stretch>
        </p:blipFill>
        <p:spPr bwMode="auto">
          <a:xfrm>
            <a:off x="111160" y="5685084"/>
            <a:ext cx="681003" cy="207666"/>
          </a:xfrm>
          <a:prstGeom prst="rect">
            <a:avLst/>
          </a:prstGeom>
          <a:solidFill>
            <a:schemeClr val="bg1"/>
          </a:solidFill>
          <a:ln>
            <a:noFill/>
            <a:headEnd/>
            <a:tailEnd/>
          </a:ln>
        </p:spPr>
        <p:style>
          <a:lnRef idx="2">
            <a:schemeClr val="accent2"/>
          </a:lnRef>
          <a:fillRef idx="1">
            <a:schemeClr val="lt1"/>
          </a:fillRef>
          <a:effectRef idx="0">
            <a:schemeClr val="accent2"/>
          </a:effectRef>
          <a:fontRef idx="minor">
            <a:schemeClr val="dk1"/>
          </a:fontRef>
        </p:style>
      </p:pic>
      <p:pic>
        <p:nvPicPr>
          <p:cNvPr id="18" name="Picture 17" descr="NK_.gif"/>
          <p:cNvPicPr>
            <a:picLocks noChangeAspect="1"/>
          </p:cNvPicPr>
          <p:nvPr/>
        </p:nvPicPr>
        <p:blipFill>
          <a:blip r:embed="rId4" cstate="print"/>
          <a:stretch>
            <a:fillRect/>
          </a:stretch>
        </p:blipFill>
        <p:spPr>
          <a:xfrm>
            <a:off x="7368022" y="3637978"/>
            <a:ext cx="424718" cy="199761"/>
          </a:xfrm>
          <a:prstGeom prst="rect">
            <a:avLst/>
          </a:prstGeom>
          <a:solidFill>
            <a:schemeClr val="bg1"/>
          </a:solidFill>
        </p:spPr>
      </p:pic>
      <p:sp>
        <p:nvSpPr>
          <p:cNvPr id="27" name="TextBox 26"/>
          <p:cNvSpPr txBox="1"/>
          <p:nvPr/>
        </p:nvSpPr>
        <p:spPr>
          <a:xfrm>
            <a:off x="4726566" y="1867145"/>
            <a:ext cx="3830579" cy="1046937"/>
          </a:xfrm>
          <a:prstGeom prst="rect">
            <a:avLst/>
          </a:prstGeom>
          <a:solidFill>
            <a:schemeClr val="bg1"/>
          </a:solidFill>
        </p:spPr>
        <p:txBody>
          <a:bodyPr wrap="square" lIns="91430" tIns="45716" rIns="91430" bIns="45716" rtlCol="0">
            <a:normAutofit/>
          </a:bodyPr>
          <a:lstStyle/>
          <a:p>
            <a:pPr>
              <a:spcAft>
                <a:spcPts val="100"/>
              </a:spcAft>
            </a:pPr>
            <a:r>
              <a:rPr lang="en-US" sz="1600" b="1" dirty="0">
                <a:solidFill>
                  <a:srgbClr val="4F961E"/>
                </a:solidFill>
                <a:latin typeface="Helvetica Neue"/>
                <a:cs typeface="Arial" charset="0"/>
              </a:rPr>
              <a:t>1. Optimize resources for success</a:t>
            </a:r>
          </a:p>
          <a:p>
            <a:pPr>
              <a:spcAft>
                <a:spcPts val="600"/>
              </a:spcAft>
            </a:pPr>
            <a:r>
              <a:rPr lang="en-US" sz="1300" dirty="0" smtClean="0">
                <a:solidFill>
                  <a:srgbClr val="626469"/>
                </a:solidFill>
                <a:latin typeface="Helvetica Neue"/>
                <a:cs typeface="Arial" charset="0"/>
              </a:rPr>
              <a:t>Financial &amp; farm resource planning ; land preparation ; Hybrid Selection  &amp; Input Allocation</a:t>
            </a:r>
          </a:p>
        </p:txBody>
      </p:sp>
      <p:sp>
        <p:nvSpPr>
          <p:cNvPr id="28" name="TextBox 27"/>
          <p:cNvSpPr txBox="1"/>
          <p:nvPr/>
        </p:nvSpPr>
        <p:spPr>
          <a:xfrm>
            <a:off x="265487" y="2332606"/>
            <a:ext cx="3059376" cy="825323"/>
          </a:xfrm>
          <a:prstGeom prst="rect">
            <a:avLst/>
          </a:prstGeom>
          <a:solidFill>
            <a:schemeClr val="bg1"/>
          </a:solidFill>
        </p:spPr>
        <p:txBody>
          <a:bodyPr wrap="square" lIns="91430" tIns="45716" rIns="91430" bIns="45716" rtlCol="0">
            <a:noAutofit/>
          </a:bodyPr>
          <a:lstStyle/>
          <a:p>
            <a:pPr marL="91430">
              <a:spcBef>
                <a:spcPts val="0"/>
              </a:spcBef>
              <a:spcAft>
                <a:spcPts val="600"/>
              </a:spcAft>
            </a:pPr>
            <a:r>
              <a:rPr lang="en-US" sz="1300" dirty="0" smtClean="0">
                <a:solidFill>
                  <a:srgbClr val="626469"/>
                </a:solidFill>
                <a:latin typeface="Helvetica Neue"/>
                <a:cs typeface="Arial" charset="0"/>
              </a:rPr>
              <a:t>A new experience in growing corn for a BETTER LIFE.</a:t>
            </a:r>
            <a:endParaRPr lang="en-US" sz="1300" dirty="0">
              <a:solidFill>
                <a:srgbClr val="626469"/>
              </a:solidFill>
              <a:latin typeface="Helvetica Neue"/>
              <a:cs typeface="Arial" charset="0"/>
            </a:endParaRPr>
          </a:p>
        </p:txBody>
      </p:sp>
      <p:sp>
        <p:nvSpPr>
          <p:cNvPr id="30" name="Footer Placeholder 3"/>
          <p:cNvSpPr txBox="1">
            <a:spLocks/>
          </p:cNvSpPr>
          <p:nvPr/>
        </p:nvSpPr>
        <p:spPr>
          <a:xfrm>
            <a:off x="792163" y="6346209"/>
            <a:ext cx="5753100" cy="487212"/>
          </a:xfrm>
          <a:prstGeom prst="rect">
            <a:avLst/>
          </a:prstGeom>
        </p:spPr>
        <p:txBody>
          <a:bodyPr>
            <a:normAutofit/>
          </a:bodyPr>
          <a:lstStyle>
            <a:defPPr>
              <a:defRPr lang="en-US"/>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defRPr/>
            </a:pPr>
            <a:r>
              <a:rPr lang="en-US" sz="1200" dirty="0" smtClean="0">
                <a:solidFill>
                  <a:srgbClr val="000000"/>
                </a:solidFill>
              </a:rPr>
              <a:t>Classification: PUBLIC</a:t>
            </a:r>
            <a:endParaRPr lang="en-US" sz="1200" dirty="0">
              <a:solidFill>
                <a:srgbClr val="000000"/>
              </a:solidFill>
            </a:endParaRPr>
          </a:p>
        </p:txBody>
      </p:sp>
      <p:pic>
        <p:nvPicPr>
          <p:cNvPr id="31" name="Picture 30" descr="NK_.gif"/>
          <p:cNvPicPr>
            <a:picLocks noChangeAspect="1"/>
          </p:cNvPicPr>
          <p:nvPr/>
        </p:nvPicPr>
        <p:blipFill>
          <a:blip r:embed="rId4" cstate="print"/>
          <a:stretch>
            <a:fillRect/>
          </a:stretch>
        </p:blipFill>
        <p:spPr>
          <a:xfrm>
            <a:off x="6429496" y="5585204"/>
            <a:ext cx="424718" cy="199761"/>
          </a:xfrm>
          <a:prstGeom prst="rect">
            <a:avLst/>
          </a:prstGeom>
          <a:solidFill>
            <a:schemeClr val="bg1"/>
          </a:solidFill>
        </p:spPr>
      </p:pic>
      <p:pic>
        <p:nvPicPr>
          <p:cNvPr id="32"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30842" y="5330206"/>
            <a:ext cx="708191" cy="168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90405" y="5312238"/>
            <a:ext cx="627557" cy="18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6" descr="http://www.institutophytus.com.br/academiadevendas/portal/visualiza_imagem.asp?ID=2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2335" y="5711609"/>
            <a:ext cx="850516" cy="170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7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37211" y="5678670"/>
            <a:ext cx="770288" cy="205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08883" y="4755133"/>
            <a:ext cx="921959" cy="338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7" name="Group 82"/>
          <p:cNvGrpSpPr>
            <a:grpSpLocks noChangeAspect="1"/>
          </p:cNvGrpSpPr>
          <p:nvPr/>
        </p:nvGrpSpPr>
        <p:grpSpPr bwMode="auto">
          <a:xfrm>
            <a:off x="7930842" y="4807626"/>
            <a:ext cx="1093788" cy="233362"/>
            <a:chOff x="1447800" y="3762375"/>
            <a:chExt cx="5272088" cy="1038225"/>
          </a:xfrm>
        </p:grpSpPr>
        <p:pic>
          <p:nvPicPr>
            <p:cNvPr id="38"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47800" y="3762375"/>
              <a:ext cx="981075"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424113" y="4000500"/>
              <a:ext cx="429577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0412104"/>
      </p:ext>
    </p:ext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72"/>
          <p:cNvGrpSpPr/>
          <p:nvPr/>
        </p:nvGrpSpPr>
        <p:grpSpPr>
          <a:xfrm>
            <a:off x="398449" y="1219200"/>
            <a:ext cx="2340000" cy="4191001"/>
            <a:chOff x="398449" y="914399"/>
            <a:chExt cx="2340000" cy="3240000"/>
          </a:xfrm>
        </p:grpSpPr>
        <p:sp>
          <p:nvSpPr>
            <p:cNvPr id="9" name="Rounded Rectangle 8"/>
            <p:cNvSpPr/>
            <p:nvPr/>
          </p:nvSpPr>
          <p:spPr bwMode="auto">
            <a:xfrm>
              <a:off x="398449" y="914399"/>
              <a:ext cx="2340000" cy="3240000"/>
            </a:xfrm>
            <a:prstGeom prst="roundRect">
              <a:avLst/>
            </a:prstGeom>
            <a:solidFill>
              <a:schemeClr val="tx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de-CH" sz="1000" b="0" i="0" u="none" strike="noStrike" cap="none" normalizeH="0" baseline="0" smtClean="0">
                <a:ln>
                  <a:noFill/>
                </a:ln>
                <a:solidFill>
                  <a:schemeClr val="tx1"/>
                </a:solidFill>
                <a:effectLst/>
                <a:latin typeface="Arial" charset="0"/>
              </a:endParaRPr>
            </a:p>
          </p:txBody>
        </p:sp>
        <p:sp>
          <p:nvSpPr>
            <p:cNvPr id="57" name="TextBox 56"/>
            <p:cNvSpPr txBox="1"/>
            <p:nvPr/>
          </p:nvSpPr>
          <p:spPr>
            <a:xfrm>
              <a:off x="688974" y="1003300"/>
              <a:ext cx="1778000" cy="546100"/>
            </a:xfrm>
            <a:prstGeom prst="rect">
              <a:avLst/>
            </a:prstGeom>
            <a:noFill/>
          </p:spPr>
          <p:txBody>
            <a:bodyPr wrap="square" rtlCol="0">
              <a:normAutofit/>
            </a:bodyPr>
            <a:lstStyle/>
            <a:p>
              <a:pPr algn="ctr">
                <a:spcBef>
                  <a:spcPts val="0"/>
                </a:spcBef>
                <a:spcAft>
                  <a:spcPts val="0"/>
                </a:spcAft>
              </a:pPr>
              <a:r>
                <a:rPr lang="de-CH" sz="1400" b="1" dirty="0" smtClean="0">
                  <a:solidFill>
                    <a:schemeClr val="bg1"/>
                  </a:solidFill>
                </a:rPr>
                <a:t>More food</a:t>
              </a:r>
            </a:p>
            <a:p>
              <a:pPr algn="ctr">
                <a:spcBef>
                  <a:spcPts val="0"/>
                </a:spcBef>
                <a:spcAft>
                  <a:spcPts val="0"/>
                </a:spcAft>
              </a:pPr>
              <a:r>
                <a:rPr lang="de-CH" sz="1400" b="1" dirty="0" smtClean="0">
                  <a:solidFill>
                    <a:schemeClr val="bg1"/>
                  </a:solidFill>
                </a:rPr>
                <a:t>Less waste</a:t>
              </a:r>
            </a:p>
          </p:txBody>
        </p:sp>
      </p:grpSp>
      <p:sp>
        <p:nvSpPr>
          <p:cNvPr id="3" name="TextBox 2"/>
          <p:cNvSpPr txBox="1"/>
          <p:nvPr/>
        </p:nvSpPr>
        <p:spPr>
          <a:xfrm>
            <a:off x="319336" y="5507567"/>
            <a:ext cx="8426011" cy="524933"/>
          </a:xfrm>
          <a:prstGeom prst="rect">
            <a:avLst/>
          </a:prstGeom>
          <a:noFill/>
        </p:spPr>
        <p:txBody>
          <a:bodyPr wrap="square" rtlCol="0">
            <a:noAutofit/>
          </a:bodyPr>
          <a:lstStyle/>
          <a:p>
            <a:pPr algn="r">
              <a:spcBef>
                <a:spcPts val="0"/>
              </a:spcBef>
              <a:spcAft>
                <a:spcPts val="600"/>
              </a:spcAft>
            </a:pPr>
            <a:r>
              <a:rPr lang="en-US" sz="2000" dirty="0" smtClean="0">
                <a:solidFill>
                  <a:srgbClr val="5F7800"/>
                </a:solidFill>
              </a:rPr>
              <a:t>One planet. Six commitments.</a:t>
            </a:r>
          </a:p>
        </p:txBody>
      </p:sp>
      <p:sp>
        <p:nvSpPr>
          <p:cNvPr id="4" name="Title 3"/>
          <p:cNvSpPr>
            <a:spLocks noGrp="1"/>
          </p:cNvSpPr>
          <p:nvPr>
            <p:ph type="title"/>
          </p:nvPr>
        </p:nvSpPr>
        <p:spPr/>
        <p:txBody>
          <a:bodyPr/>
          <a:lstStyle/>
          <a:p>
            <a:r>
              <a:rPr lang="en-US" sz="2400" dirty="0" smtClean="0"/>
              <a:t>The Good Growth Plan</a:t>
            </a:r>
            <a:endParaRPr lang="en-US" sz="2400" dirty="0"/>
          </a:p>
        </p:txBody>
      </p:sp>
      <p:grpSp>
        <p:nvGrpSpPr>
          <p:cNvPr id="12" name="Group 62"/>
          <p:cNvGrpSpPr/>
          <p:nvPr/>
        </p:nvGrpSpPr>
        <p:grpSpPr>
          <a:xfrm>
            <a:off x="466724" y="2008535"/>
            <a:ext cx="2203450" cy="3153597"/>
            <a:chOff x="466724" y="1506401"/>
            <a:chExt cx="2203450" cy="2365198"/>
          </a:xfrm>
        </p:grpSpPr>
        <p:grpSp>
          <p:nvGrpSpPr>
            <p:cNvPr id="14" name="Group 10"/>
            <p:cNvGrpSpPr/>
            <p:nvPr/>
          </p:nvGrpSpPr>
          <p:grpSpPr>
            <a:xfrm>
              <a:off x="466724" y="2169799"/>
              <a:ext cx="2203450" cy="1701800"/>
              <a:chOff x="469900" y="-1119501"/>
              <a:chExt cx="2203450" cy="1701800"/>
            </a:xfrm>
          </p:grpSpPr>
          <p:sp>
            <p:nvSpPr>
              <p:cNvPr id="10" name="Rounded Rectangle 9"/>
              <p:cNvSpPr/>
              <p:nvPr/>
            </p:nvSpPr>
            <p:spPr bwMode="auto">
              <a:xfrm>
                <a:off x="469900" y="-1119501"/>
                <a:ext cx="1044000" cy="1701800"/>
              </a:xfrm>
              <a:prstGeom prst="roundRect">
                <a:avLst/>
              </a:prstGeom>
              <a:solidFill>
                <a:schemeClr val="bg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de-CH" sz="1000" b="0" i="0" u="none" strike="noStrike" cap="none" normalizeH="0" baseline="0" smtClean="0">
                  <a:ln>
                    <a:noFill/>
                  </a:ln>
                  <a:solidFill>
                    <a:schemeClr val="tx1"/>
                  </a:solidFill>
                  <a:effectLst/>
                  <a:latin typeface="Arial" charset="0"/>
                </a:endParaRPr>
              </a:p>
            </p:txBody>
          </p:sp>
          <p:sp>
            <p:nvSpPr>
              <p:cNvPr id="18" name="Rounded Rectangle 17"/>
              <p:cNvSpPr/>
              <p:nvPr/>
            </p:nvSpPr>
            <p:spPr bwMode="auto">
              <a:xfrm>
                <a:off x="1059150" y="-1119501"/>
                <a:ext cx="1044000" cy="1701800"/>
              </a:xfrm>
              <a:prstGeom prst="roundRect">
                <a:avLst/>
              </a:prstGeom>
              <a:solidFill>
                <a:schemeClr val="bg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de-CH" sz="1000" b="0" i="0" u="none" strike="noStrike" cap="none" normalizeH="0" baseline="0" smtClean="0">
                  <a:ln>
                    <a:noFill/>
                  </a:ln>
                  <a:solidFill>
                    <a:schemeClr val="tx1"/>
                  </a:solidFill>
                  <a:effectLst/>
                  <a:latin typeface="Arial" charset="0"/>
                </a:endParaRPr>
              </a:p>
            </p:txBody>
          </p:sp>
          <p:sp>
            <p:nvSpPr>
              <p:cNvPr id="24" name="Rounded Rectangle 23"/>
              <p:cNvSpPr/>
              <p:nvPr/>
            </p:nvSpPr>
            <p:spPr bwMode="auto">
              <a:xfrm>
                <a:off x="1629350" y="-1119501"/>
                <a:ext cx="1044000" cy="1701800"/>
              </a:xfrm>
              <a:prstGeom prst="roundRect">
                <a:avLst/>
              </a:prstGeom>
              <a:solidFill>
                <a:schemeClr val="bg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de-CH" sz="1000" b="0" i="0" u="none" strike="noStrike" cap="none" normalizeH="0" baseline="0" smtClean="0">
                  <a:ln>
                    <a:noFill/>
                  </a:ln>
                  <a:solidFill>
                    <a:schemeClr val="tx1"/>
                  </a:solidFill>
                  <a:effectLst/>
                  <a:latin typeface="Arial" charset="0"/>
                </a:endParaRPr>
              </a:p>
            </p:txBody>
          </p:sp>
        </p:grpSp>
        <p:sp>
          <p:nvSpPr>
            <p:cNvPr id="28" name="TextBox 27"/>
            <p:cNvSpPr txBox="1"/>
            <p:nvPr/>
          </p:nvSpPr>
          <p:spPr>
            <a:xfrm>
              <a:off x="688974" y="2184400"/>
              <a:ext cx="1778000" cy="546100"/>
            </a:xfrm>
            <a:prstGeom prst="rect">
              <a:avLst/>
            </a:prstGeom>
            <a:noFill/>
          </p:spPr>
          <p:txBody>
            <a:bodyPr wrap="square" rtlCol="0">
              <a:normAutofit/>
            </a:bodyPr>
            <a:lstStyle/>
            <a:p>
              <a:pPr algn="ctr">
                <a:lnSpc>
                  <a:spcPct val="90000"/>
                </a:lnSpc>
                <a:spcBef>
                  <a:spcPts val="0"/>
                </a:spcBef>
                <a:spcAft>
                  <a:spcPts val="0"/>
                </a:spcAft>
              </a:pPr>
              <a:r>
                <a:rPr lang="de-CH" sz="1400" b="1" dirty="0" smtClean="0">
                  <a:solidFill>
                    <a:schemeClr val="tx2"/>
                  </a:solidFill>
                </a:rPr>
                <a:t>Make crops</a:t>
              </a:r>
            </a:p>
            <a:p>
              <a:pPr algn="ctr">
                <a:lnSpc>
                  <a:spcPct val="90000"/>
                </a:lnSpc>
                <a:spcBef>
                  <a:spcPts val="0"/>
                </a:spcBef>
                <a:spcAft>
                  <a:spcPts val="0"/>
                </a:spcAft>
              </a:pPr>
              <a:r>
                <a:rPr lang="de-CH" sz="1400" b="1" dirty="0" smtClean="0">
                  <a:solidFill>
                    <a:schemeClr val="tx2"/>
                  </a:solidFill>
                </a:rPr>
                <a:t>more efficient</a:t>
              </a:r>
            </a:p>
          </p:txBody>
        </p:sp>
        <p:sp>
          <p:nvSpPr>
            <p:cNvPr id="30" name="TextBox 29"/>
            <p:cNvSpPr txBox="1"/>
            <p:nvPr/>
          </p:nvSpPr>
          <p:spPr>
            <a:xfrm>
              <a:off x="558800" y="2705099"/>
              <a:ext cx="2006600" cy="1141099"/>
            </a:xfrm>
            <a:prstGeom prst="rect">
              <a:avLst/>
            </a:prstGeom>
            <a:noFill/>
          </p:spPr>
          <p:txBody>
            <a:bodyPr wrap="square" rtlCol="0">
              <a:normAutofit/>
            </a:bodyPr>
            <a:lstStyle/>
            <a:p>
              <a:pPr algn="ctr">
                <a:spcBef>
                  <a:spcPts val="0"/>
                </a:spcBef>
                <a:spcAft>
                  <a:spcPts val="0"/>
                </a:spcAft>
              </a:pPr>
              <a:r>
                <a:rPr lang="de-CH" sz="1100" dirty="0" smtClean="0"/>
                <a:t>Increase average productivity of the world’s major crops by 20% without using more land, water or inputs</a:t>
              </a:r>
            </a:p>
          </p:txBody>
        </p:sp>
        <p:pic>
          <p:nvPicPr>
            <p:cNvPr id="6" name="Picture 5"/>
            <p:cNvPicPr>
              <a:picLocks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1206498" y="1506401"/>
              <a:ext cx="72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31" name="Group 30"/>
          <p:cNvGrpSpPr/>
          <p:nvPr/>
        </p:nvGrpSpPr>
        <p:grpSpPr>
          <a:xfrm>
            <a:off x="2809479" y="1219200"/>
            <a:ext cx="2340000" cy="4191001"/>
            <a:chOff x="2809479" y="1219200"/>
            <a:chExt cx="2340000" cy="4191001"/>
          </a:xfrm>
        </p:grpSpPr>
        <p:grpSp>
          <p:nvGrpSpPr>
            <p:cNvPr id="8" name="Group 73"/>
            <p:cNvGrpSpPr/>
            <p:nvPr/>
          </p:nvGrpSpPr>
          <p:grpSpPr>
            <a:xfrm>
              <a:off x="2809479" y="1219200"/>
              <a:ext cx="2340000" cy="4191001"/>
              <a:chOff x="2825381" y="914399"/>
              <a:chExt cx="2340000" cy="3240000"/>
            </a:xfrm>
          </p:grpSpPr>
          <p:sp>
            <p:nvSpPr>
              <p:cNvPr id="13" name="Rounded Rectangle 12"/>
              <p:cNvSpPr/>
              <p:nvPr/>
            </p:nvSpPr>
            <p:spPr bwMode="auto">
              <a:xfrm>
                <a:off x="2825381" y="914399"/>
                <a:ext cx="2340000" cy="3240000"/>
              </a:xfrm>
              <a:prstGeom prst="roundRect">
                <a:avLst/>
              </a:prstGeom>
              <a:solidFill>
                <a:schemeClr val="accent3"/>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de-CH" sz="1000" b="0" i="0" u="none" strike="noStrike" cap="none" normalizeH="0" baseline="0" smtClean="0">
                  <a:ln>
                    <a:noFill/>
                  </a:ln>
                  <a:solidFill>
                    <a:schemeClr val="tx1"/>
                  </a:solidFill>
                  <a:effectLst/>
                  <a:latin typeface="Arial" charset="0"/>
                </a:endParaRPr>
              </a:p>
            </p:txBody>
          </p:sp>
          <p:sp>
            <p:nvSpPr>
              <p:cNvPr id="58" name="TextBox 57"/>
              <p:cNvSpPr txBox="1"/>
              <p:nvPr/>
            </p:nvSpPr>
            <p:spPr>
              <a:xfrm>
                <a:off x="3106381" y="1003300"/>
                <a:ext cx="1778000" cy="546100"/>
              </a:xfrm>
              <a:prstGeom prst="rect">
                <a:avLst/>
              </a:prstGeom>
              <a:noFill/>
            </p:spPr>
            <p:txBody>
              <a:bodyPr wrap="square" rtlCol="0">
                <a:normAutofit/>
              </a:bodyPr>
              <a:lstStyle/>
              <a:p>
                <a:pPr algn="ctr">
                  <a:spcBef>
                    <a:spcPts val="0"/>
                  </a:spcBef>
                  <a:spcAft>
                    <a:spcPts val="0"/>
                  </a:spcAft>
                </a:pPr>
                <a:r>
                  <a:rPr lang="de-CH" sz="1400" b="1" dirty="0" smtClean="0">
                    <a:solidFill>
                      <a:schemeClr val="bg1"/>
                    </a:solidFill>
                  </a:rPr>
                  <a:t>More biodiversity</a:t>
                </a:r>
              </a:p>
              <a:p>
                <a:pPr algn="ctr">
                  <a:spcBef>
                    <a:spcPts val="0"/>
                  </a:spcBef>
                  <a:spcAft>
                    <a:spcPts val="0"/>
                  </a:spcAft>
                </a:pPr>
                <a:r>
                  <a:rPr lang="de-CH" sz="1400" b="1" dirty="0" smtClean="0">
                    <a:solidFill>
                      <a:schemeClr val="bg1"/>
                    </a:solidFill>
                  </a:rPr>
                  <a:t>Less degradation</a:t>
                </a:r>
              </a:p>
            </p:txBody>
          </p:sp>
        </p:grpSp>
        <p:grpSp>
          <p:nvGrpSpPr>
            <p:cNvPr id="15" name="Group 78"/>
            <p:cNvGrpSpPr/>
            <p:nvPr/>
          </p:nvGrpSpPr>
          <p:grpSpPr>
            <a:xfrm>
              <a:off x="2809479" y="2013532"/>
              <a:ext cx="1221416" cy="3148600"/>
              <a:chOff x="2825381" y="1510149"/>
              <a:chExt cx="1221416" cy="2361450"/>
            </a:xfrm>
          </p:grpSpPr>
          <p:sp>
            <p:nvSpPr>
              <p:cNvPr id="19" name="Rounded Rectangle 18"/>
              <p:cNvSpPr/>
              <p:nvPr/>
            </p:nvSpPr>
            <p:spPr bwMode="auto">
              <a:xfrm>
                <a:off x="2914089" y="2169799"/>
                <a:ext cx="1044000" cy="1701800"/>
              </a:xfrm>
              <a:prstGeom prst="roundRect">
                <a:avLst/>
              </a:prstGeom>
              <a:solidFill>
                <a:schemeClr val="bg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de-CH" sz="1000" b="0" i="0" u="none" strike="noStrike" cap="none" normalizeH="0" baseline="0" smtClean="0">
                  <a:ln>
                    <a:noFill/>
                  </a:ln>
                  <a:solidFill>
                    <a:schemeClr val="tx1"/>
                  </a:solidFill>
                  <a:effectLst/>
                  <a:latin typeface="Arial" charset="0"/>
                </a:endParaRPr>
              </a:p>
            </p:txBody>
          </p:sp>
          <p:grpSp>
            <p:nvGrpSpPr>
              <p:cNvPr id="16" name="Group 63"/>
              <p:cNvGrpSpPr/>
              <p:nvPr/>
            </p:nvGrpSpPr>
            <p:grpSpPr>
              <a:xfrm>
                <a:off x="2825381" y="1510149"/>
                <a:ext cx="1221416" cy="2336049"/>
                <a:chOff x="2825381" y="1510149"/>
                <a:chExt cx="1221416" cy="2336049"/>
              </a:xfrm>
            </p:grpSpPr>
            <p:sp>
              <p:nvSpPr>
                <p:cNvPr id="32" name="TextBox 31"/>
                <p:cNvSpPr txBox="1"/>
                <p:nvPr/>
              </p:nvSpPr>
              <p:spPr>
                <a:xfrm>
                  <a:off x="2895347" y="2184400"/>
                  <a:ext cx="1081484" cy="546100"/>
                </a:xfrm>
                <a:prstGeom prst="rect">
                  <a:avLst/>
                </a:prstGeom>
                <a:noFill/>
              </p:spPr>
              <p:txBody>
                <a:bodyPr wrap="square" rtlCol="0">
                  <a:noAutofit/>
                </a:bodyPr>
                <a:lstStyle/>
                <a:p>
                  <a:pPr algn="ctr">
                    <a:lnSpc>
                      <a:spcPct val="90000"/>
                    </a:lnSpc>
                    <a:spcBef>
                      <a:spcPts val="0"/>
                    </a:spcBef>
                    <a:spcAft>
                      <a:spcPts val="0"/>
                    </a:spcAft>
                  </a:pPr>
                  <a:r>
                    <a:rPr lang="de-CH" sz="1400" b="1" dirty="0" smtClean="0">
                      <a:solidFill>
                        <a:schemeClr val="accent3"/>
                      </a:solidFill>
                    </a:rPr>
                    <a:t>Rescue more farmland</a:t>
                  </a:r>
                </a:p>
              </p:txBody>
            </p:sp>
            <p:sp>
              <p:nvSpPr>
                <p:cNvPr id="52" name="TextBox 51"/>
                <p:cNvSpPr txBox="1"/>
                <p:nvPr/>
              </p:nvSpPr>
              <p:spPr>
                <a:xfrm>
                  <a:off x="2825381" y="2705099"/>
                  <a:ext cx="1221416" cy="1141099"/>
                </a:xfrm>
                <a:prstGeom prst="rect">
                  <a:avLst/>
                </a:prstGeom>
                <a:noFill/>
              </p:spPr>
              <p:txBody>
                <a:bodyPr wrap="square" rtlCol="0">
                  <a:normAutofit/>
                </a:bodyPr>
                <a:lstStyle/>
                <a:p>
                  <a:pPr algn="ctr">
                    <a:spcBef>
                      <a:spcPts val="0"/>
                    </a:spcBef>
                    <a:spcAft>
                      <a:spcPts val="600"/>
                    </a:spcAft>
                  </a:pPr>
                  <a:r>
                    <a:rPr lang="de-CH" sz="1100" dirty="0" smtClean="0"/>
                    <a:t>Improve the fertility of 10 million hectares of farmland on the brink of degradation</a:t>
                  </a:r>
                </a:p>
              </p:txBody>
            </p:sp>
            <p:pic>
              <p:nvPicPr>
                <p:cNvPr id="2" name="Picture 1"/>
                <p:cNvPicPr>
                  <a:picLocks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3076089" y="1510149"/>
                  <a:ext cx="72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25" name="Group 77"/>
            <p:cNvGrpSpPr/>
            <p:nvPr/>
          </p:nvGrpSpPr>
          <p:grpSpPr>
            <a:xfrm>
              <a:off x="4006111" y="2004142"/>
              <a:ext cx="1081484" cy="3157991"/>
              <a:chOff x="4022013" y="1503106"/>
              <a:chExt cx="1081484" cy="2368493"/>
            </a:xfrm>
          </p:grpSpPr>
          <p:sp>
            <p:nvSpPr>
              <p:cNvPr id="20" name="Rounded Rectangle 19"/>
              <p:cNvSpPr/>
              <p:nvPr/>
            </p:nvSpPr>
            <p:spPr bwMode="auto">
              <a:xfrm>
                <a:off x="4040755" y="2169799"/>
                <a:ext cx="1044000" cy="1701800"/>
              </a:xfrm>
              <a:prstGeom prst="roundRect">
                <a:avLst/>
              </a:prstGeom>
              <a:solidFill>
                <a:schemeClr val="bg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de-CH" sz="1000" b="0" i="0" u="none" strike="noStrike" cap="none" normalizeH="0" baseline="0" smtClean="0">
                  <a:ln>
                    <a:noFill/>
                  </a:ln>
                  <a:solidFill>
                    <a:schemeClr val="tx1"/>
                  </a:solidFill>
                  <a:effectLst/>
                  <a:latin typeface="Arial" charset="0"/>
                </a:endParaRPr>
              </a:p>
            </p:txBody>
          </p:sp>
          <p:grpSp>
            <p:nvGrpSpPr>
              <p:cNvPr id="26" name="Group 64"/>
              <p:cNvGrpSpPr/>
              <p:nvPr/>
            </p:nvGrpSpPr>
            <p:grpSpPr>
              <a:xfrm>
                <a:off x="4022013" y="1503106"/>
                <a:ext cx="1081484" cy="2343092"/>
                <a:chOff x="4022013" y="1503106"/>
                <a:chExt cx="1081484" cy="2343092"/>
              </a:xfrm>
            </p:grpSpPr>
            <p:sp>
              <p:nvSpPr>
                <p:cNvPr id="33" name="TextBox 32"/>
                <p:cNvSpPr txBox="1"/>
                <p:nvPr/>
              </p:nvSpPr>
              <p:spPr>
                <a:xfrm>
                  <a:off x="4022013" y="2197100"/>
                  <a:ext cx="1081484" cy="546100"/>
                </a:xfrm>
                <a:prstGeom prst="rect">
                  <a:avLst/>
                </a:prstGeom>
                <a:noFill/>
              </p:spPr>
              <p:txBody>
                <a:bodyPr wrap="square" lIns="36000" rIns="36000" rtlCol="0">
                  <a:normAutofit lnSpcReduction="10000"/>
                </a:bodyPr>
                <a:lstStyle/>
                <a:p>
                  <a:pPr algn="ctr">
                    <a:spcBef>
                      <a:spcPts val="0"/>
                    </a:spcBef>
                    <a:spcAft>
                      <a:spcPts val="0"/>
                    </a:spcAft>
                  </a:pPr>
                  <a:r>
                    <a:rPr lang="de-CH" sz="1400" b="1" dirty="0" smtClean="0">
                      <a:solidFill>
                        <a:schemeClr val="accent3"/>
                      </a:solidFill>
                    </a:rPr>
                    <a:t>Help biodiversity flourish</a:t>
                  </a:r>
                </a:p>
              </p:txBody>
            </p:sp>
            <p:sp>
              <p:nvSpPr>
                <p:cNvPr id="53" name="TextBox 52"/>
                <p:cNvSpPr txBox="1"/>
                <p:nvPr/>
              </p:nvSpPr>
              <p:spPr>
                <a:xfrm>
                  <a:off x="4022013" y="2705099"/>
                  <a:ext cx="1081484" cy="1141099"/>
                </a:xfrm>
                <a:prstGeom prst="rect">
                  <a:avLst/>
                </a:prstGeom>
                <a:noFill/>
              </p:spPr>
              <p:txBody>
                <a:bodyPr wrap="square" rtlCol="0">
                  <a:normAutofit/>
                </a:bodyPr>
                <a:lstStyle/>
                <a:p>
                  <a:pPr algn="ctr">
                    <a:spcBef>
                      <a:spcPts val="0"/>
                    </a:spcBef>
                    <a:spcAft>
                      <a:spcPts val="600"/>
                    </a:spcAft>
                  </a:pPr>
                  <a:r>
                    <a:rPr lang="de-CH" sz="1100" dirty="0" smtClean="0"/>
                    <a:t>Enhance biodiversity on 5 million hectares of farmland</a:t>
                  </a:r>
                </a:p>
              </p:txBody>
            </p:sp>
            <p:pic>
              <p:nvPicPr>
                <p:cNvPr id="68" name="Picture 67"/>
                <p:cNvPicPr>
                  <a:picLocks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4202755" y="1503106"/>
                  <a:ext cx="72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34" name="Group 33"/>
          <p:cNvGrpSpPr/>
          <p:nvPr/>
        </p:nvGrpSpPr>
        <p:grpSpPr>
          <a:xfrm>
            <a:off x="5219370" y="1226480"/>
            <a:ext cx="3511377" cy="4179139"/>
            <a:chOff x="5219370" y="1226480"/>
            <a:chExt cx="3511377" cy="4179139"/>
          </a:xfrm>
        </p:grpSpPr>
        <p:grpSp>
          <p:nvGrpSpPr>
            <p:cNvPr id="5" name="Group 81"/>
            <p:cNvGrpSpPr/>
            <p:nvPr/>
          </p:nvGrpSpPr>
          <p:grpSpPr>
            <a:xfrm>
              <a:off x="5221958" y="1226480"/>
              <a:ext cx="3498815" cy="4179139"/>
              <a:chOff x="5229908" y="919860"/>
              <a:chExt cx="3498815" cy="3134354"/>
            </a:xfrm>
          </p:grpSpPr>
          <p:pic>
            <p:nvPicPr>
              <p:cNvPr id="81" name="Picture 8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29908" y="919860"/>
                <a:ext cx="3498815" cy="3134354"/>
              </a:xfrm>
              <a:prstGeom prst="rect">
                <a:avLst/>
              </a:prstGeom>
              <a:noFill/>
              <a:ln>
                <a:noFill/>
              </a:ln>
            </p:spPr>
          </p:pic>
          <p:sp>
            <p:nvSpPr>
              <p:cNvPr id="59" name="TextBox 58"/>
              <p:cNvSpPr txBox="1"/>
              <p:nvPr/>
            </p:nvSpPr>
            <p:spPr>
              <a:xfrm>
                <a:off x="6100231" y="1000645"/>
                <a:ext cx="1778000" cy="529793"/>
              </a:xfrm>
              <a:prstGeom prst="rect">
                <a:avLst/>
              </a:prstGeom>
              <a:noFill/>
            </p:spPr>
            <p:txBody>
              <a:bodyPr wrap="square" rtlCol="0">
                <a:normAutofit/>
              </a:bodyPr>
              <a:lstStyle/>
              <a:p>
                <a:pPr algn="ctr">
                  <a:spcBef>
                    <a:spcPts val="0"/>
                  </a:spcBef>
                  <a:spcAft>
                    <a:spcPts val="0"/>
                  </a:spcAft>
                </a:pPr>
                <a:r>
                  <a:rPr lang="de-CH" sz="1400" b="1" dirty="0" smtClean="0">
                    <a:solidFill>
                      <a:schemeClr val="bg1"/>
                    </a:solidFill>
                  </a:rPr>
                  <a:t>More health</a:t>
                </a:r>
              </a:p>
              <a:p>
                <a:pPr algn="ctr">
                  <a:spcBef>
                    <a:spcPts val="0"/>
                  </a:spcBef>
                  <a:spcAft>
                    <a:spcPts val="0"/>
                  </a:spcAft>
                </a:pPr>
                <a:r>
                  <a:rPr lang="de-CH" sz="1400" b="1" dirty="0" smtClean="0">
                    <a:solidFill>
                      <a:schemeClr val="bg1"/>
                    </a:solidFill>
                  </a:rPr>
                  <a:t>Less poverty</a:t>
                </a:r>
              </a:p>
            </p:txBody>
          </p:sp>
        </p:grpSp>
        <p:grpSp>
          <p:nvGrpSpPr>
            <p:cNvPr id="17" name="Group 79"/>
            <p:cNvGrpSpPr/>
            <p:nvPr/>
          </p:nvGrpSpPr>
          <p:grpSpPr>
            <a:xfrm>
              <a:off x="7509331" y="1983769"/>
              <a:ext cx="1221416" cy="3178364"/>
              <a:chOff x="7517282" y="1487826"/>
              <a:chExt cx="1221416" cy="2383773"/>
            </a:xfrm>
          </p:grpSpPr>
          <p:sp>
            <p:nvSpPr>
              <p:cNvPr id="50" name="Rounded Rectangle 49"/>
              <p:cNvSpPr/>
              <p:nvPr/>
            </p:nvSpPr>
            <p:spPr bwMode="auto">
              <a:xfrm>
                <a:off x="7569990" y="2169799"/>
                <a:ext cx="1116000" cy="1701800"/>
              </a:xfrm>
              <a:prstGeom prst="roundRect">
                <a:avLst/>
              </a:prstGeom>
              <a:solidFill>
                <a:schemeClr val="bg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de-CH" sz="1000" b="0" i="0" u="none" strike="noStrike" cap="none" normalizeH="0" baseline="0" smtClean="0">
                  <a:ln>
                    <a:noFill/>
                  </a:ln>
                  <a:solidFill>
                    <a:schemeClr val="tx1"/>
                  </a:solidFill>
                  <a:effectLst/>
                  <a:latin typeface="Arial" charset="0"/>
                </a:endParaRPr>
              </a:p>
            </p:txBody>
          </p:sp>
          <p:grpSp>
            <p:nvGrpSpPr>
              <p:cNvPr id="21" name="Group 70"/>
              <p:cNvGrpSpPr/>
              <p:nvPr/>
            </p:nvGrpSpPr>
            <p:grpSpPr>
              <a:xfrm>
                <a:off x="7517282" y="1487826"/>
                <a:ext cx="1221416" cy="2358372"/>
                <a:chOff x="7495806" y="1487826"/>
                <a:chExt cx="1221416" cy="2358372"/>
              </a:xfrm>
            </p:grpSpPr>
            <p:sp>
              <p:nvSpPr>
                <p:cNvPr id="48" name="TextBox 47"/>
                <p:cNvSpPr txBox="1"/>
                <p:nvPr/>
              </p:nvSpPr>
              <p:spPr>
                <a:xfrm>
                  <a:off x="7541180" y="2197100"/>
                  <a:ext cx="1130668" cy="546100"/>
                </a:xfrm>
                <a:prstGeom prst="rect">
                  <a:avLst/>
                </a:prstGeom>
                <a:noFill/>
              </p:spPr>
              <p:txBody>
                <a:bodyPr wrap="square" lIns="0" rIns="0" rtlCol="0">
                  <a:normAutofit/>
                </a:bodyPr>
                <a:lstStyle/>
                <a:p>
                  <a:pPr algn="ctr">
                    <a:lnSpc>
                      <a:spcPct val="90000"/>
                    </a:lnSpc>
                    <a:spcBef>
                      <a:spcPts val="0"/>
                    </a:spcBef>
                    <a:spcAft>
                      <a:spcPts val="0"/>
                    </a:spcAft>
                  </a:pPr>
                  <a:r>
                    <a:rPr lang="de-CH" sz="1400" b="1" dirty="0" smtClean="0">
                      <a:solidFill>
                        <a:schemeClr val="accent1"/>
                      </a:solidFill>
                    </a:rPr>
                    <a:t>Look after every worker</a:t>
                  </a:r>
                </a:p>
              </p:txBody>
            </p:sp>
            <p:sp>
              <p:nvSpPr>
                <p:cNvPr id="56" name="TextBox 55"/>
                <p:cNvSpPr txBox="1"/>
                <p:nvPr/>
              </p:nvSpPr>
              <p:spPr>
                <a:xfrm>
                  <a:off x="7495806" y="2705099"/>
                  <a:ext cx="1221416" cy="1141099"/>
                </a:xfrm>
                <a:prstGeom prst="rect">
                  <a:avLst/>
                </a:prstGeom>
                <a:noFill/>
              </p:spPr>
              <p:txBody>
                <a:bodyPr wrap="square" rtlCol="0">
                  <a:normAutofit/>
                </a:bodyPr>
                <a:lstStyle/>
                <a:p>
                  <a:pPr algn="ctr">
                    <a:spcBef>
                      <a:spcPts val="0"/>
                    </a:spcBef>
                    <a:spcAft>
                      <a:spcPts val="600"/>
                    </a:spcAft>
                  </a:pPr>
                  <a:r>
                    <a:rPr lang="de-CH" sz="1100" dirty="0" smtClean="0"/>
                    <a:t>Strive for fair labor conditions throughout our entire supply chain network</a:t>
                  </a:r>
                </a:p>
              </p:txBody>
            </p:sp>
            <p:pic>
              <p:nvPicPr>
                <p:cNvPr id="7" name="Picture 6"/>
                <p:cNvPicPr>
                  <a:picLocks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7746514" y="1487826"/>
                  <a:ext cx="72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22" name="Group 75"/>
            <p:cNvGrpSpPr/>
            <p:nvPr/>
          </p:nvGrpSpPr>
          <p:grpSpPr>
            <a:xfrm>
              <a:off x="5219370" y="1990492"/>
              <a:ext cx="1183316" cy="3171641"/>
              <a:chOff x="5255897" y="1492868"/>
              <a:chExt cx="1183316" cy="2378731"/>
            </a:xfrm>
          </p:grpSpPr>
          <p:sp>
            <p:nvSpPr>
              <p:cNvPr id="42" name="Rounded Rectangle 41"/>
              <p:cNvSpPr/>
              <p:nvPr/>
            </p:nvSpPr>
            <p:spPr bwMode="auto">
              <a:xfrm>
                <a:off x="5289555" y="2169799"/>
                <a:ext cx="1116000" cy="1701800"/>
              </a:xfrm>
              <a:prstGeom prst="roundRect">
                <a:avLst/>
              </a:prstGeom>
              <a:solidFill>
                <a:schemeClr val="bg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de-CH" sz="1000" b="0" i="0" u="none" strike="noStrike" cap="none" normalizeH="0" baseline="0" smtClean="0">
                  <a:ln>
                    <a:noFill/>
                  </a:ln>
                  <a:solidFill>
                    <a:schemeClr val="tx1"/>
                  </a:solidFill>
                  <a:effectLst/>
                  <a:latin typeface="Arial" charset="0"/>
                </a:endParaRPr>
              </a:p>
            </p:txBody>
          </p:sp>
          <p:grpSp>
            <p:nvGrpSpPr>
              <p:cNvPr id="23" name="Group 68"/>
              <p:cNvGrpSpPr/>
              <p:nvPr/>
            </p:nvGrpSpPr>
            <p:grpSpPr>
              <a:xfrm>
                <a:off x="5255897" y="1492868"/>
                <a:ext cx="1183316" cy="2353330"/>
                <a:chOff x="5255897" y="1492868"/>
                <a:chExt cx="1183316" cy="2353330"/>
              </a:xfrm>
            </p:grpSpPr>
            <p:sp>
              <p:nvSpPr>
                <p:cNvPr id="40" name="TextBox 39"/>
                <p:cNvSpPr txBox="1"/>
                <p:nvPr/>
              </p:nvSpPr>
              <p:spPr>
                <a:xfrm>
                  <a:off x="5274139" y="2184400"/>
                  <a:ext cx="1146832" cy="546100"/>
                </a:xfrm>
                <a:prstGeom prst="rect">
                  <a:avLst/>
                </a:prstGeom>
                <a:noFill/>
              </p:spPr>
              <p:txBody>
                <a:bodyPr wrap="square" lIns="0" rIns="0" rtlCol="0">
                  <a:normAutofit/>
                </a:bodyPr>
                <a:lstStyle/>
                <a:p>
                  <a:pPr algn="ctr">
                    <a:lnSpc>
                      <a:spcPct val="90000"/>
                    </a:lnSpc>
                    <a:spcBef>
                      <a:spcPts val="0"/>
                    </a:spcBef>
                    <a:spcAft>
                      <a:spcPts val="0"/>
                    </a:spcAft>
                  </a:pPr>
                  <a:r>
                    <a:rPr lang="de-CH" sz="1400" b="1" dirty="0" smtClean="0">
                      <a:solidFill>
                        <a:schemeClr val="accent1"/>
                      </a:solidFill>
                    </a:rPr>
                    <a:t>Empower smallholders</a:t>
                  </a:r>
                </a:p>
              </p:txBody>
            </p:sp>
            <p:sp>
              <p:nvSpPr>
                <p:cNvPr id="54" name="TextBox 53"/>
                <p:cNvSpPr txBox="1"/>
                <p:nvPr/>
              </p:nvSpPr>
              <p:spPr>
                <a:xfrm>
                  <a:off x="5255897" y="2705099"/>
                  <a:ext cx="1183316" cy="1141099"/>
                </a:xfrm>
                <a:prstGeom prst="rect">
                  <a:avLst/>
                </a:prstGeom>
                <a:noFill/>
              </p:spPr>
              <p:txBody>
                <a:bodyPr wrap="square" lIns="36000" rIns="36000" rtlCol="0">
                  <a:noAutofit/>
                </a:bodyPr>
                <a:lstStyle/>
                <a:p>
                  <a:pPr algn="ctr">
                    <a:spcBef>
                      <a:spcPts val="0"/>
                    </a:spcBef>
                    <a:spcAft>
                      <a:spcPts val="0"/>
                    </a:spcAft>
                  </a:pPr>
                  <a:r>
                    <a:rPr lang="de-CH" sz="1100" dirty="0" smtClean="0"/>
                    <a:t>Reach 20 million smallholders</a:t>
                  </a:r>
                  <a:br>
                    <a:rPr lang="de-CH" sz="1100" dirty="0" smtClean="0"/>
                  </a:br>
                  <a:r>
                    <a:rPr lang="de-CH" sz="1100" dirty="0" smtClean="0"/>
                    <a:t>and enable them to increase productivity</a:t>
                  </a:r>
                </a:p>
                <a:p>
                  <a:pPr algn="ctr">
                    <a:spcBef>
                      <a:spcPts val="0"/>
                    </a:spcBef>
                    <a:spcAft>
                      <a:spcPts val="0"/>
                    </a:spcAft>
                  </a:pPr>
                  <a:r>
                    <a:rPr lang="de-CH" sz="1100" dirty="0" smtClean="0"/>
                    <a:t>by 50%</a:t>
                  </a:r>
                </a:p>
              </p:txBody>
            </p:sp>
            <p:pic>
              <p:nvPicPr>
                <p:cNvPr id="67" name="Picture 66"/>
                <p:cNvPicPr>
                  <a:picLocks noChangeArrowheads="1"/>
                </p:cNvPicPr>
                <p:nvPr/>
              </p:nvPicPr>
              <p:blipFill>
                <a:blip r:embed="rId8" cstate="email">
                  <a:extLst>
                    <a:ext uri="{28A0092B-C50C-407E-A947-70E740481C1C}">
                      <a14:useLocalDpi xmlns:a14="http://schemas.microsoft.com/office/drawing/2010/main"/>
                    </a:ext>
                  </a:extLst>
                </a:blip>
                <a:stretch>
                  <a:fillRect/>
                </a:stretch>
              </p:blipFill>
              <p:spPr bwMode="auto">
                <a:xfrm>
                  <a:off x="5487555" y="1492868"/>
                  <a:ext cx="72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27" name="Group 76"/>
            <p:cNvGrpSpPr/>
            <p:nvPr/>
          </p:nvGrpSpPr>
          <p:grpSpPr>
            <a:xfrm>
              <a:off x="6345301" y="1966678"/>
              <a:ext cx="1221416" cy="3195455"/>
              <a:chOff x="6381381" y="1475008"/>
              <a:chExt cx="1221416" cy="2396591"/>
            </a:xfrm>
          </p:grpSpPr>
          <p:sp>
            <p:nvSpPr>
              <p:cNvPr id="43" name="Rounded Rectangle 42"/>
              <p:cNvSpPr/>
              <p:nvPr/>
            </p:nvSpPr>
            <p:spPr bwMode="auto">
              <a:xfrm>
                <a:off x="6434089" y="2169799"/>
                <a:ext cx="1116000" cy="1701800"/>
              </a:xfrm>
              <a:prstGeom prst="roundRect">
                <a:avLst/>
              </a:prstGeom>
              <a:solidFill>
                <a:schemeClr val="bg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de-CH" sz="1000" b="0" i="0" u="none" strike="noStrike" cap="none" normalizeH="0" baseline="0" smtClean="0">
                  <a:ln>
                    <a:noFill/>
                  </a:ln>
                  <a:solidFill>
                    <a:schemeClr val="tx1"/>
                  </a:solidFill>
                  <a:effectLst/>
                  <a:latin typeface="Arial" charset="0"/>
                </a:endParaRPr>
              </a:p>
            </p:txBody>
          </p:sp>
          <p:grpSp>
            <p:nvGrpSpPr>
              <p:cNvPr id="29" name="Group 71"/>
              <p:cNvGrpSpPr/>
              <p:nvPr/>
            </p:nvGrpSpPr>
            <p:grpSpPr>
              <a:xfrm>
                <a:off x="6381381" y="1475008"/>
                <a:ext cx="1221416" cy="2371190"/>
                <a:chOff x="6381381" y="1475008"/>
                <a:chExt cx="1221416" cy="2371190"/>
              </a:xfrm>
            </p:grpSpPr>
            <p:sp>
              <p:nvSpPr>
                <p:cNvPr id="47" name="TextBox 46"/>
                <p:cNvSpPr txBox="1"/>
                <p:nvPr/>
              </p:nvSpPr>
              <p:spPr>
                <a:xfrm>
                  <a:off x="6451347" y="2184400"/>
                  <a:ext cx="1081484" cy="546100"/>
                </a:xfrm>
                <a:prstGeom prst="rect">
                  <a:avLst/>
                </a:prstGeom>
                <a:noFill/>
              </p:spPr>
              <p:txBody>
                <a:bodyPr wrap="square" lIns="36000" rIns="36000" rtlCol="0">
                  <a:normAutofit/>
                </a:bodyPr>
                <a:lstStyle/>
                <a:p>
                  <a:pPr algn="ctr">
                    <a:lnSpc>
                      <a:spcPct val="90000"/>
                    </a:lnSpc>
                    <a:spcBef>
                      <a:spcPts val="0"/>
                    </a:spcBef>
                    <a:spcAft>
                      <a:spcPts val="0"/>
                    </a:spcAft>
                  </a:pPr>
                  <a:r>
                    <a:rPr lang="de-CH" sz="1400" b="1" dirty="0" smtClean="0">
                      <a:solidFill>
                        <a:schemeClr val="accent1"/>
                      </a:solidFill>
                    </a:rPr>
                    <a:t>Help people stay safe</a:t>
                  </a:r>
                </a:p>
              </p:txBody>
            </p:sp>
            <p:sp>
              <p:nvSpPr>
                <p:cNvPr id="55" name="TextBox 54"/>
                <p:cNvSpPr txBox="1"/>
                <p:nvPr/>
              </p:nvSpPr>
              <p:spPr>
                <a:xfrm>
                  <a:off x="6381381" y="2705099"/>
                  <a:ext cx="1221416" cy="1141099"/>
                </a:xfrm>
                <a:prstGeom prst="rect">
                  <a:avLst/>
                </a:prstGeom>
                <a:noFill/>
              </p:spPr>
              <p:txBody>
                <a:bodyPr wrap="square" rtlCol="0">
                  <a:normAutofit/>
                </a:bodyPr>
                <a:lstStyle/>
                <a:p>
                  <a:pPr algn="ctr">
                    <a:spcBef>
                      <a:spcPts val="0"/>
                    </a:spcBef>
                    <a:spcAft>
                      <a:spcPts val="600"/>
                    </a:spcAft>
                  </a:pPr>
                  <a:r>
                    <a:rPr lang="de-CH" sz="1100" dirty="0" smtClean="0"/>
                    <a:t>Train 20 million farm workers on labor safety, especially in developing countries</a:t>
                  </a:r>
                </a:p>
              </p:txBody>
            </p:sp>
            <p:pic>
              <p:nvPicPr>
                <p:cNvPr id="66" name="Picture 65"/>
                <p:cNvPicPr>
                  <a:picLocks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6632089" y="1475008"/>
                  <a:ext cx="72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sp>
        <p:nvSpPr>
          <p:cNvPr id="60" name="Footer Placeholder 3"/>
          <p:cNvSpPr>
            <a:spLocks noGrp="1"/>
          </p:cNvSpPr>
          <p:nvPr>
            <p:ph type="ftr" sz="quarter" idx="10"/>
          </p:nvPr>
        </p:nvSpPr>
        <p:spPr>
          <a:xfrm>
            <a:off x="792163" y="6346209"/>
            <a:ext cx="5753100" cy="487212"/>
          </a:xfrm>
        </p:spPr>
        <p:txBody>
          <a:bodyPr>
            <a:normAutofit/>
          </a:bodyPr>
          <a:lstStyle/>
          <a:p>
            <a:pPr>
              <a:defRPr/>
            </a:pPr>
            <a:r>
              <a:rPr lang="en-US" sz="1050" dirty="0" smtClean="0"/>
              <a:t>Classification: PUBLIC</a:t>
            </a:r>
            <a:endParaRPr lang="en-US" sz="1050" dirty="0"/>
          </a:p>
        </p:txBody>
      </p:sp>
    </p:spTree>
    <p:extLst>
      <p:ext uri="{BB962C8B-B14F-4D97-AF65-F5344CB8AC3E}">
        <p14:creationId xmlns:p14="http://schemas.microsoft.com/office/powerpoint/2010/main" val="144117996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4"/>
                                        </p:tgtEl>
                                        <p:attrNameLst>
                                          <p:attrName>style.visibility</p:attrName>
                                        </p:attrNameLst>
                                      </p:cBhvr>
                                      <p:to>
                                        <p:strVal val="visible"/>
                                      </p:to>
                                    </p:set>
                                    <p:animEffect transition="in" filter="fade">
                                      <p:cBhvr>
                                        <p:cTn id="11" dur="500"/>
                                        <p:tgtEl>
                                          <p:spTgt spid="3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1473201" y="2782887"/>
            <a:ext cx="6375399" cy="719138"/>
            <a:chOff x="1473201" y="2782887"/>
            <a:chExt cx="6375399" cy="719138"/>
          </a:xfrm>
        </p:grpSpPr>
        <p:sp>
          <p:nvSpPr>
            <p:cNvPr id="6" name="Freeform 6"/>
            <p:cNvSpPr>
              <a:spLocks noEditPoints="1"/>
            </p:cNvSpPr>
            <p:nvPr/>
          </p:nvSpPr>
          <p:spPr bwMode="auto">
            <a:xfrm>
              <a:off x="1473201" y="2782887"/>
              <a:ext cx="452437" cy="584200"/>
            </a:xfrm>
            <a:custGeom>
              <a:avLst/>
              <a:gdLst/>
              <a:ahLst/>
              <a:cxnLst>
                <a:cxn ang="0">
                  <a:pos x="92" y="79"/>
                </a:cxn>
                <a:cxn ang="0">
                  <a:pos x="56" y="57"/>
                </a:cxn>
                <a:cxn ang="0">
                  <a:pos x="96" y="17"/>
                </a:cxn>
                <a:cxn ang="0">
                  <a:pos x="71" y="6"/>
                </a:cxn>
                <a:cxn ang="0">
                  <a:pos x="68" y="1"/>
                </a:cxn>
                <a:cxn ang="0">
                  <a:pos x="64" y="3"/>
                </a:cxn>
                <a:cxn ang="0">
                  <a:pos x="62" y="6"/>
                </a:cxn>
                <a:cxn ang="0">
                  <a:pos x="9" y="14"/>
                </a:cxn>
                <a:cxn ang="0">
                  <a:pos x="1" y="26"/>
                </a:cxn>
                <a:cxn ang="0">
                  <a:pos x="14" y="31"/>
                </a:cxn>
                <a:cxn ang="0">
                  <a:pos x="16" y="27"/>
                </a:cxn>
                <a:cxn ang="0">
                  <a:pos x="12" y="25"/>
                </a:cxn>
                <a:cxn ang="0">
                  <a:pos x="13" y="22"/>
                </a:cxn>
                <a:cxn ang="0">
                  <a:pos x="58" y="14"/>
                </a:cxn>
                <a:cxn ang="0">
                  <a:pos x="4" y="122"/>
                </a:cxn>
                <a:cxn ang="0">
                  <a:pos x="7" y="127"/>
                </a:cxn>
                <a:cxn ang="0">
                  <a:pos x="42" y="60"/>
                </a:cxn>
                <a:cxn ang="0">
                  <a:pos x="82" y="73"/>
                </a:cxn>
                <a:cxn ang="0">
                  <a:pos x="71" y="98"/>
                </a:cxn>
                <a:cxn ang="0">
                  <a:pos x="34" y="102"/>
                </a:cxn>
                <a:cxn ang="0">
                  <a:pos x="32" y="105"/>
                </a:cxn>
                <a:cxn ang="0">
                  <a:pos x="60" y="110"/>
                </a:cxn>
                <a:cxn ang="0">
                  <a:pos x="92" y="79"/>
                </a:cxn>
                <a:cxn ang="0">
                  <a:pos x="60" y="48"/>
                </a:cxn>
                <a:cxn ang="0">
                  <a:pos x="46" y="52"/>
                </a:cxn>
                <a:cxn ang="0">
                  <a:pos x="68" y="13"/>
                </a:cxn>
                <a:cxn ang="0">
                  <a:pos x="90" y="19"/>
                </a:cxn>
                <a:cxn ang="0">
                  <a:pos x="60" y="48"/>
                </a:cxn>
              </a:cxnLst>
              <a:rect l="0" t="0" r="r" b="b"/>
              <a:pathLst>
                <a:path w="101" h="130">
                  <a:moveTo>
                    <a:pt x="92" y="79"/>
                  </a:moveTo>
                  <a:cubicBezTo>
                    <a:pt x="88" y="61"/>
                    <a:pt x="65" y="58"/>
                    <a:pt x="56" y="57"/>
                  </a:cubicBezTo>
                  <a:cubicBezTo>
                    <a:pt x="98" y="41"/>
                    <a:pt x="101" y="26"/>
                    <a:pt x="96" y="17"/>
                  </a:cubicBezTo>
                  <a:cubicBezTo>
                    <a:pt x="92" y="10"/>
                    <a:pt x="82" y="7"/>
                    <a:pt x="71" y="6"/>
                  </a:cubicBezTo>
                  <a:cubicBezTo>
                    <a:pt x="71" y="3"/>
                    <a:pt x="69" y="1"/>
                    <a:pt x="68" y="1"/>
                  </a:cubicBezTo>
                  <a:cubicBezTo>
                    <a:pt x="66" y="1"/>
                    <a:pt x="65" y="0"/>
                    <a:pt x="64" y="3"/>
                  </a:cubicBezTo>
                  <a:cubicBezTo>
                    <a:pt x="63" y="3"/>
                    <a:pt x="63" y="4"/>
                    <a:pt x="62" y="6"/>
                  </a:cubicBezTo>
                  <a:cubicBezTo>
                    <a:pt x="37" y="6"/>
                    <a:pt x="16" y="11"/>
                    <a:pt x="9" y="14"/>
                  </a:cubicBezTo>
                  <a:cubicBezTo>
                    <a:pt x="0" y="18"/>
                    <a:pt x="0" y="22"/>
                    <a:pt x="1" y="26"/>
                  </a:cubicBezTo>
                  <a:cubicBezTo>
                    <a:pt x="4" y="30"/>
                    <a:pt x="10" y="31"/>
                    <a:pt x="14" y="31"/>
                  </a:cubicBezTo>
                  <a:cubicBezTo>
                    <a:pt x="19" y="31"/>
                    <a:pt x="18" y="28"/>
                    <a:pt x="16" y="27"/>
                  </a:cubicBezTo>
                  <a:cubicBezTo>
                    <a:pt x="16" y="27"/>
                    <a:pt x="14" y="26"/>
                    <a:pt x="12" y="25"/>
                  </a:cubicBezTo>
                  <a:cubicBezTo>
                    <a:pt x="9" y="25"/>
                    <a:pt x="10" y="24"/>
                    <a:pt x="13" y="22"/>
                  </a:cubicBezTo>
                  <a:cubicBezTo>
                    <a:pt x="22" y="17"/>
                    <a:pt x="47" y="14"/>
                    <a:pt x="58" y="14"/>
                  </a:cubicBezTo>
                  <a:cubicBezTo>
                    <a:pt x="43" y="41"/>
                    <a:pt x="25" y="72"/>
                    <a:pt x="4" y="122"/>
                  </a:cubicBezTo>
                  <a:cubicBezTo>
                    <a:pt x="1" y="128"/>
                    <a:pt x="3" y="130"/>
                    <a:pt x="7" y="127"/>
                  </a:cubicBezTo>
                  <a:cubicBezTo>
                    <a:pt x="13" y="121"/>
                    <a:pt x="36" y="72"/>
                    <a:pt x="42" y="60"/>
                  </a:cubicBezTo>
                  <a:cubicBezTo>
                    <a:pt x="46" y="69"/>
                    <a:pt x="66" y="63"/>
                    <a:pt x="82" y="73"/>
                  </a:cubicBezTo>
                  <a:cubicBezTo>
                    <a:pt x="90" y="78"/>
                    <a:pt x="85" y="91"/>
                    <a:pt x="71" y="98"/>
                  </a:cubicBezTo>
                  <a:cubicBezTo>
                    <a:pt x="51" y="108"/>
                    <a:pt x="39" y="106"/>
                    <a:pt x="34" y="102"/>
                  </a:cubicBezTo>
                  <a:cubicBezTo>
                    <a:pt x="32" y="99"/>
                    <a:pt x="29" y="101"/>
                    <a:pt x="32" y="105"/>
                  </a:cubicBezTo>
                  <a:cubicBezTo>
                    <a:pt x="35" y="109"/>
                    <a:pt x="41" y="115"/>
                    <a:pt x="60" y="110"/>
                  </a:cubicBezTo>
                  <a:cubicBezTo>
                    <a:pt x="101" y="99"/>
                    <a:pt x="92" y="77"/>
                    <a:pt x="92" y="79"/>
                  </a:cubicBezTo>
                  <a:moveTo>
                    <a:pt x="60" y="48"/>
                  </a:moveTo>
                  <a:cubicBezTo>
                    <a:pt x="55" y="50"/>
                    <a:pt x="51" y="52"/>
                    <a:pt x="46" y="52"/>
                  </a:cubicBezTo>
                  <a:cubicBezTo>
                    <a:pt x="53" y="40"/>
                    <a:pt x="63" y="23"/>
                    <a:pt x="68" y="13"/>
                  </a:cubicBezTo>
                  <a:cubicBezTo>
                    <a:pt x="77" y="13"/>
                    <a:pt x="86" y="14"/>
                    <a:pt x="90" y="19"/>
                  </a:cubicBezTo>
                  <a:cubicBezTo>
                    <a:pt x="95" y="25"/>
                    <a:pt x="78" y="40"/>
                    <a:pt x="60" y="48"/>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sp>
          <p:nvSpPr>
            <p:cNvPr id="8" name="Freeform 8"/>
            <p:cNvSpPr>
              <a:spLocks noEditPoints="1"/>
            </p:cNvSpPr>
            <p:nvPr/>
          </p:nvSpPr>
          <p:spPr bwMode="auto">
            <a:xfrm>
              <a:off x="2200275" y="3030538"/>
              <a:ext cx="438150" cy="430213"/>
            </a:xfrm>
            <a:custGeom>
              <a:avLst/>
              <a:gdLst/>
              <a:ahLst/>
              <a:cxnLst>
                <a:cxn ang="0">
                  <a:pos x="92" y="3"/>
                </a:cxn>
                <a:cxn ang="0">
                  <a:pos x="85" y="3"/>
                </a:cxn>
                <a:cxn ang="0">
                  <a:pos x="55" y="35"/>
                </a:cxn>
                <a:cxn ang="0">
                  <a:pos x="55" y="35"/>
                </a:cxn>
                <a:cxn ang="0">
                  <a:pos x="46" y="15"/>
                </a:cxn>
                <a:cxn ang="0">
                  <a:pos x="47" y="8"/>
                </a:cxn>
                <a:cxn ang="0">
                  <a:pos x="44" y="5"/>
                </a:cxn>
                <a:cxn ang="0">
                  <a:pos x="40" y="5"/>
                </a:cxn>
                <a:cxn ang="0">
                  <a:pos x="18" y="22"/>
                </a:cxn>
                <a:cxn ang="0">
                  <a:pos x="25" y="11"/>
                </a:cxn>
                <a:cxn ang="0">
                  <a:pos x="26" y="4"/>
                </a:cxn>
                <a:cxn ang="0">
                  <a:pos x="22" y="1"/>
                </a:cxn>
                <a:cxn ang="0">
                  <a:pos x="18" y="2"/>
                </a:cxn>
                <a:cxn ang="0">
                  <a:pos x="3" y="28"/>
                </a:cxn>
                <a:cxn ang="0">
                  <a:pos x="3" y="43"/>
                </a:cxn>
                <a:cxn ang="0">
                  <a:pos x="9" y="44"/>
                </a:cxn>
                <a:cxn ang="0">
                  <a:pos x="36" y="18"/>
                </a:cxn>
                <a:cxn ang="0">
                  <a:pos x="36" y="20"/>
                </a:cxn>
                <a:cxn ang="0">
                  <a:pos x="41" y="34"/>
                </a:cxn>
                <a:cxn ang="0">
                  <a:pos x="59" y="41"/>
                </a:cxn>
                <a:cxn ang="0">
                  <a:pos x="76" y="37"/>
                </a:cxn>
                <a:cxn ang="0">
                  <a:pos x="76" y="37"/>
                </a:cxn>
                <a:cxn ang="0">
                  <a:pos x="44" y="81"/>
                </a:cxn>
                <a:cxn ang="0">
                  <a:pos x="19" y="69"/>
                </a:cxn>
                <a:cxn ang="0">
                  <a:pos x="16" y="67"/>
                </a:cxn>
                <a:cxn ang="0">
                  <a:pos x="15" y="70"/>
                </a:cxn>
                <a:cxn ang="0">
                  <a:pos x="27" y="88"/>
                </a:cxn>
                <a:cxn ang="0">
                  <a:pos x="68" y="71"/>
                </a:cxn>
                <a:cxn ang="0">
                  <a:pos x="90" y="27"/>
                </a:cxn>
                <a:cxn ang="0">
                  <a:pos x="90" y="26"/>
                </a:cxn>
                <a:cxn ang="0">
                  <a:pos x="92" y="21"/>
                </a:cxn>
                <a:cxn ang="0">
                  <a:pos x="95" y="16"/>
                </a:cxn>
                <a:cxn ang="0">
                  <a:pos x="92" y="3"/>
                </a:cxn>
                <a:cxn ang="0">
                  <a:pos x="65" y="33"/>
                </a:cxn>
                <a:cxn ang="0">
                  <a:pos x="64" y="32"/>
                </a:cxn>
                <a:cxn ang="0">
                  <a:pos x="85" y="13"/>
                </a:cxn>
                <a:cxn ang="0">
                  <a:pos x="86" y="14"/>
                </a:cxn>
                <a:cxn ang="0">
                  <a:pos x="86" y="15"/>
                </a:cxn>
                <a:cxn ang="0">
                  <a:pos x="79" y="25"/>
                </a:cxn>
                <a:cxn ang="0">
                  <a:pos x="65" y="33"/>
                </a:cxn>
              </a:cxnLst>
              <a:rect l="0" t="0" r="r" b="b"/>
              <a:pathLst>
                <a:path w="98" h="96">
                  <a:moveTo>
                    <a:pt x="92" y="3"/>
                  </a:moveTo>
                  <a:cubicBezTo>
                    <a:pt x="91" y="1"/>
                    <a:pt x="87" y="1"/>
                    <a:pt x="85" y="3"/>
                  </a:cubicBezTo>
                  <a:cubicBezTo>
                    <a:pt x="77" y="6"/>
                    <a:pt x="52" y="21"/>
                    <a:pt x="55" y="35"/>
                  </a:cubicBezTo>
                  <a:cubicBezTo>
                    <a:pt x="55" y="35"/>
                    <a:pt x="55" y="35"/>
                    <a:pt x="55" y="35"/>
                  </a:cubicBezTo>
                  <a:cubicBezTo>
                    <a:pt x="43" y="37"/>
                    <a:pt x="42" y="21"/>
                    <a:pt x="46" y="15"/>
                  </a:cubicBezTo>
                  <a:cubicBezTo>
                    <a:pt x="49" y="11"/>
                    <a:pt x="48" y="10"/>
                    <a:pt x="47" y="8"/>
                  </a:cubicBezTo>
                  <a:cubicBezTo>
                    <a:pt x="47" y="8"/>
                    <a:pt x="46" y="7"/>
                    <a:pt x="44" y="5"/>
                  </a:cubicBezTo>
                  <a:cubicBezTo>
                    <a:pt x="43" y="4"/>
                    <a:pt x="42" y="3"/>
                    <a:pt x="40" y="5"/>
                  </a:cubicBezTo>
                  <a:cubicBezTo>
                    <a:pt x="36" y="7"/>
                    <a:pt x="23" y="19"/>
                    <a:pt x="18" y="22"/>
                  </a:cubicBezTo>
                  <a:cubicBezTo>
                    <a:pt x="20" y="19"/>
                    <a:pt x="22" y="15"/>
                    <a:pt x="25" y="11"/>
                  </a:cubicBezTo>
                  <a:cubicBezTo>
                    <a:pt x="27" y="7"/>
                    <a:pt x="27" y="6"/>
                    <a:pt x="26" y="4"/>
                  </a:cubicBezTo>
                  <a:cubicBezTo>
                    <a:pt x="24" y="2"/>
                    <a:pt x="23" y="1"/>
                    <a:pt x="22" y="1"/>
                  </a:cubicBezTo>
                  <a:cubicBezTo>
                    <a:pt x="21" y="0"/>
                    <a:pt x="19" y="0"/>
                    <a:pt x="18" y="2"/>
                  </a:cubicBezTo>
                  <a:cubicBezTo>
                    <a:pt x="15" y="8"/>
                    <a:pt x="5" y="26"/>
                    <a:pt x="3" y="28"/>
                  </a:cubicBezTo>
                  <a:cubicBezTo>
                    <a:pt x="1" y="33"/>
                    <a:pt x="0" y="38"/>
                    <a:pt x="3" y="43"/>
                  </a:cubicBezTo>
                  <a:cubicBezTo>
                    <a:pt x="5" y="46"/>
                    <a:pt x="8" y="45"/>
                    <a:pt x="9" y="44"/>
                  </a:cubicBezTo>
                  <a:cubicBezTo>
                    <a:pt x="14" y="39"/>
                    <a:pt x="29" y="24"/>
                    <a:pt x="36" y="18"/>
                  </a:cubicBezTo>
                  <a:cubicBezTo>
                    <a:pt x="36" y="19"/>
                    <a:pt x="36" y="19"/>
                    <a:pt x="36" y="20"/>
                  </a:cubicBezTo>
                  <a:cubicBezTo>
                    <a:pt x="36" y="25"/>
                    <a:pt x="37" y="28"/>
                    <a:pt x="41" y="34"/>
                  </a:cubicBezTo>
                  <a:cubicBezTo>
                    <a:pt x="46" y="43"/>
                    <a:pt x="55" y="43"/>
                    <a:pt x="59" y="41"/>
                  </a:cubicBezTo>
                  <a:cubicBezTo>
                    <a:pt x="62" y="44"/>
                    <a:pt x="67" y="44"/>
                    <a:pt x="76" y="37"/>
                  </a:cubicBezTo>
                  <a:cubicBezTo>
                    <a:pt x="76" y="37"/>
                    <a:pt x="76" y="37"/>
                    <a:pt x="76" y="37"/>
                  </a:cubicBezTo>
                  <a:cubicBezTo>
                    <a:pt x="67" y="64"/>
                    <a:pt x="57" y="75"/>
                    <a:pt x="44" y="81"/>
                  </a:cubicBezTo>
                  <a:cubicBezTo>
                    <a:pt x="29" y="88"/>
                    <a:pt x="23" y="78"/>
                    <a:pt x="19" y="69"/>
                  </a:cubicBezTo>
                  <a:cubicBezTo>
                    <a:pt x="18" y="66"/>
                    <a:pt x="17" y="66"/>
                    <a:pt x="16" y="67"/>
                  </a:cubicBezTo>
                  <a:cubicBezTo>
                    <a:pt x="15" y="67"/>
                    <a:pt x="15" y="67"/>
                    <a:pt x="15" y="70"/>
                  </a:cubicBezTo>
                  <a:cubicBezTo>
                    <a:pt x="17" y="75"/>
                    <a:pt x="19" y="81"/>
                    <a:pt x="27" y="88"/>
                  </a:cubicBezTo>
                  <a:cubicBezTo>
                    <a:pt x="41" y="96"/>
                    <a:pt x="57" y="85"/>
                    <a:pt x="68" y="71"/>
                  </a:cubicBezTo>
                  <a:cubicBezTo>
                    <a:pt x="78" y="58"/>
                    <a:pt x="83" y="42"/>
                    <a:pt x="90" y="27"/>
                  </a:cubicBezTo>
                  <a:cubicBezTo>
                    <a:pt x="90" y="27"/>
                    <a:pt x="90" y="26"/>
                    <a:pt x="90" y="26"/>
                  </a:cubicBezTo>
                  <a:cubicBezTo>
                    <a:pt x="92" y="25"/>
                    <a:pt x="93" y="22"/>
                    <a:pt x="92" y="21"/>
                  </a:cubicBezTo>
                  <a:cubicBezTo>
                    <a:pt x="93" y="19"/>
                    <a:pt x="94" y="18"/>
                    <a:pt x="95" y="16"/>
                  </a:cubicBezTo>
                  <a:cubicBezTo>
                    <a:pt x="98" y="9"/>
                    <a:pt x="95" y="5"/>
                    <a:pt x="92" y="3"/>
                  </a:cubicBezTo>
                  <a:moveTo>
                    <a:pt x="65" y="33"/>
                  </a:moveTo>
                  <a:cubicBezTo>
                    <a:pt x="64" y="34"/>
                    <a:pt x="63" y="34"/>
                    <a:pt x="64" y="32"/>
                  </a:cubicBezTo>
                  <a:cubicBezTo>
                    <a:pt x="65" y="28"/>
                    <a:pt x="75" y="16"/>
                    <a:pt x="85" y="13"/>
                  </a:cubicBezTo>
                  <a:cubicBezTo>
                    <a:pt x="86" y="13"/>
                    <a:pt x="86" y="13"/>
                    <a:pt x="86" y="14"/>
                  </a:cubicBezTo>
                  <a:cubicBezTo>
                    <a:pt x="86" y="14"/>
                    <a:pt x="86" y="15"/>
                    <a:pt x="86" y="15"/>
                  </a:cubicBezTo>
                  <a:cubicBezTo>
                    <a:pt x="82" y="19"/>
                    <a:pt x="81" y="21"/>
                    <a:pt x="79" y="25"/>
                  </a:cubicBezTo>
                  <a:cubicBezTo>
                    <a:pt x="74" y="29"/>
                    <a:pt x="67" y="33"/>
                    <a:pt x="65" y="33"/>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grpSp>
          <p:nvGrpSpPr>
            <p:cNvPr id="3" name="Group 8"/>
            <p:cNvGrpSpPr/>
            <p:nvPr/>
          </p:nvGrpSpPr>
          <p:grpSpPr>
            <a:xfrm>
              <a:off x="1920875" y="2890838"/>
              <a:ext cx="328612" cy="354012"/>
              <a:chOff x="746125" y="5392738"/>
              <a:chExt cx="328612" cy="354012"/>
            </a:xfrm>
          </p:grpSpPr>
          <p:sp>
            <p:nvSpPr>
              <p:cNvPr id="10" name="Freeform 7"/>
              <p:cNvSpPr>
                <a:spLocks/>
              </p:cNvSpPr>
              <p:nvPr/>
            </p:nvSpPr>
            <p:spPr bwMode="auto">
              <a:xfrm>
                <a:off x="746125" y="5505450"/>
                <a:ext cx="279400" cy="241300"/>
              </a:xfrm>
              <a:custGeom>
                <a:avLst/>
                <a:gdLst/>
                <a:ahLst/>
                <a:cxnLst>
                  <a:cxn ang="0">
                    <a:pos x="60" y="43"/>
                  </a:cxn>
                  <a:cxn ang="0">
                    <a:pos x="53" y="43"/>
                  </a:cxn>
                  <a:cxn ang="0">
                    <a:pos x="48" y="37"/>
                  </a:cxn>
                  <a:cxn ang="0">
                    <a:pos x="58" y="19"/>
                  </a:cxn>
                  <a:cxn ang="0">
                    <a:pos x="60" y="12"/>
                  </a:cxn>
                  <a:cxn ang="0">
                    <a:pos x="56" y="8"/>
                  </a:cxn>
                  <a:cxn ang="0">
                    <a:pos x="49" y="9"/>
                  </a:cxn>
                  <a:cxn ang="0">
                    <a:pos x="28" y="15"/>
                  </a:cxn>
                  <a:cxn ang="0">
                    <a:pos x="23" y="17"/>
                  </a:cxn>
                  <a:cxn ang="0">
                    <a:pos x="24" y="11"/>
                  </a:cxn>
                  <a:cxn ang="0">
                    <a:pos x="22" y="3"/>
                  </a:cxn>
                  <a:cxn ang="0">
                    <a:pos x="17" y="2"/>
                  </a:cxn>
                  <a:cxn ang="0">
                    <a:pos x="11" y="28"/>
                  </a:cxn>
                  <a:cxn ang="0">
                    <a:pos x="1" y="41"/>
                  </a:cxn>
                  <a:cxn ang="0">
                    <a:pos x="0" y="46"/>
                  </a:cxn>
                  <a:cxn ang="0">
                    <a:pos x="1" y="50"/>
                  </a:cxn>
                  <a:cxn ang="0">
                    <a:pos x="1" y="50"/>
                  </a:cxn>
                  <a:cxn ang="0">
                    <a:pos x="2" y="50"/>
                  </a:cxn>
                  <a:cxn ang="0">
                    <a:pos x="2" y="51"/>
                  </a:cxn>
                  <a:cxn ang="0">
                    <a:pos x="2" y="51"/>
                  </a:cxn>
                  <a:cxn ang="0">
                    <a:pos x="8" y="51"/>
                  </a:cxn>
                  <a:cxn ang="0">
                    <a:pos x="19" y="31"/>
                  </a:cxn>
                  <a:cxn ang="0">
                    <a:pos x="43" y="21"/>
                  </a:cxn>
                  <a:cxn ang="0">
                    <a:pos x="44" y="22"/>
                  </a:cxn>
                  <a:cxn ang="0">
                    <a:pos x="45" y="47"/>
                  </a:cxn>
                  <a:cxn ang="0">
                    <a:pos x="62" y="44"/>
                  </a:cxn>
                  <a:cxn ang="0">
                    <a:pos x="60" y="43"/>
                  </a:cxn>
                </a:cxnLst>
                <a:rect l="0" t="0" r="r" b="b"/>
                <a:pathLst>
                  <a:path w="62" h="54">
                    <a:moveTo>
                      <a:pt x="60" y="43"/>
                    </a:moveTo>
                    <a:cubicBezTo>
                      <a:pt x="59" y="43"/>
                      <a:pt x="56" y="43"/>
                      <a:pt x="53" y="43"/>
                    </a:cubicBezTo>
                    <a:cubicBezTo>
                      <a:pt x="49" y="43"/>
                      <a:pt x="47" y="42"/>
                      <a:pt x="48" y="37"/>
                    </a:cubicBezTo>
                    <a:cubicBezTo>
                      <a:pt x="49" y="33"/>
                      <a:pt x="53" y="26"/>
                      <a:pt x="58" y="19"/>
                    </a:cubicBezTo>
                    <a:cubicBezTo>
                      <a:pt x="61" y="15"/>
                      <a:pt x="61" y="13"/>
                      <a:pt x="60" y="12"/>
                    </a:cubicBezTo>
                    <a:cubicBezTo>
                      <a:pt x="60" y="12"/>
                      <a:pt x="58" y="10"/>
                      <a:pt x="56" y="8"/>
                    </a:cubicBezTo>
                    <a:cubicBezTo>
                      <a:pt x="54" y="6"/>
                      <a:pt x="51" y="8"/>
                      <a:pt x="49" y="9"/>
                    </a:cubicBezTo>
                    <a:cubicBezTo>
                      <a:pt x="45" y="11"/>
                      <a:pt x="35" y="12"/>
                      <a:pt x="28" y="15"/>
                    </a:cubicBezTo>
                    <a:cubicBezTo>
                      <a:pt x="26" y="16"/>
                      <a:pt x="25" y="16"/>
                      <a:pt x="23" y="17"/>
                    </a:cubicBezTo>
                    <a:cubicBezTo>
                      <a:pt x="24" y="15"/>
                      <a:pt x="24" y="13"/>
                      <a:pt x="24" y="11"/>
                    </a:cubicBezTo>
                    <a:cubicBezTo>
                      <a:pt x="25" y="6"/>
                      <a:pt x="24" y="4"/>
                      <a:pt x="22" y="3"/>
                    </a:cubicBezTo>
                    <a:cubicBezTo>
                      <a:pt x="20" y="1"/>
                      <a:pt x="17" y="0"/>
                      <a:pt x="17" y="2"/>
                    </a:cubicBezTo>
                    <a:cubicBezTo>
                      <a:pt x="16" y="7"/>
                      <a:pt x="14" y="18"/>
                      <a:pt x="11" y="28"/>
                    </a:cubicBezTo>
                    <a:cubicBezTo>
                      <a:pt x="6" y="33"/>
                      <a:pt x="2" y="39"/>
                      <a:pt x="1" y="41"/>
                    </a:cubicBezTo>
                    <a:cubicBezTo>
                      <a:pt x="0" y="44"/>
                      <a:pt x="0" y="44"/>
                      <a:pt x="0" y="46"/>
                    </a:cubicBezTo>
                    <a:cubicBezTo>
                      <a:pt x="0" y="47"/>
                      <a:pt x="0" y="48"/>
                      <a:pt x="1" y="50"/>
                    </a:cubicBezTo>
                    <a:cubicBezTo>
                      <a:pt x="1" y="50"/>
                      <a:pt x="1" y="50"/>
                      <a:pt x="1" y="50"/>
                    </a:cubicBezTo>
                    <a:cubicBezTo>
                      <a:pt x="1" y="50"/>
                      <a:pt x="1" y="50"/>
                      <a:pt x="2" y="50"/>
                    </a:cubicBezTo>
                    <a:cubicBezTo>
                      <a:pt x="2" y="50"/>
                      <a:pt x="2" y="50"/>
                      <a:pt x="2" y="51"/>
                    </a:cubicBezTo>
                    <a:cubicBezTo>
                      <a:pt x="2" y="51"/>
                      <a:pt x="2" y="51"/>
                      <a:pt x="2" y="51"/>
                    </a:cubicBezTo>
                    <a:cubicBezTo>
                      <a:pt x="4" y="52"/>
                      <a:pt x="5" y="54"/>
                      <a:pt x="8" y="51"/>
                    </a:cubicBezTo>
                    <a:cubicBezTo>
                      <a:pt x="10" y="47"/>
                      <a:pt x="15" y="40"/>
                      <a:pt x="19" y="31"/>
                    </a:cubicBezTo>
                    <a:cubicBezTo>
                      <a:pt x="26" y="23"/>
                      <a:pt x="37" y="22"/>
                      <a:pt x="43" y="21"/>
                    </a:cubicBezTo>
                    <a:cubicBezTo>
                      <a:pt x="44" y="20"/>
                      <a:pt x="45" y="21"/>
                      <a:pt x="44" y="22"/>
                    </a:cubicBezTo>
                    <a:cubicBezTo>
                      <a:pt x="38" y="32"/>
                      <a:pt x="41" y="42"/>
                      <a:pt x="45" y="47"/>
                    </a:cubicBezTo>
                    <a:cubicBezTo>
                      <a:pt x="51" y="54"/>
                      <a:pt x="62" y="49"/>
                      <a:pt x="62" y="44"/>
                    </a:cubicBezTo>
                    <a:cubicBezTo>
                      <a:pt x="62" y="43"/>
                      <a:pt x="61" y="43"/>
                      <a:pt x="60" y="43"/>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sp>
            <p:nvSpPr>
              <p:cNvPr id="11" name="Freeform 9"/>
              <p:cNvSpPr>
                <a:spLocks/>
              </p:cNvSpPr>
              <p:nvPr/>
            </p:nvSpPr>
            <p:spPr bwMode="auto">
              <a:xfrm>
                <a:off x="1016000" y="5392738"/>
                <a:ext cx="58737" cy="90488"/>
              </a:xfrm>
              <a:custGeom>
                <a:avLst/>
                <a:gdLst/>
                <a:ahLst/>
                <a:cxnLst>
                  <a:cxn ang="0">
                    <a:pos x="3" y="2"/>
                  </a:cxn>
                  <a:cxn ang="0">
                    <a:pos x="9" y="2"/>
                  </a:cxn>
                  <a:cxn ang="0">
                    <a:pos x="12" y="14"/>
                  </a:cxn>
                  <a:cxn ang="0">
                    <a:pos x="6" y="17"/>
                  </a:cxn>
                  <a:cxn ang="0">
                    <a:pos x="1" y="6"/>
                  </a:cxn>
                  <a:cxn ang="0">
                    <a:pos x="3" y="2"/>
                  </a:cxn>
                </a:cxnLst>
                <a:rect l="0" t="0" r="r" b="b"/>
                <a:pathLst>
                  <a:path w="13" h="20">
                    <a:moveTo>
                      <a:pt x="3" y="2"/>
                    </a:moveTo>
                    <a:cubicBezTo>
                      <a:pt x="6" y="1"/>
                      <a:pt x="7" y="0"/>
                      <a:pt x="9" y="2"/>
                    </a:cubicBezTo>
                    <a:cubicBezTo>
                      <a:pt x="12" y="6"/>
                      <a:pt x="12" y="10"/>
                      <a:pt x="12" y="14"/>
                    </a:cubicBezTo>
                    <a:cubicBezTo>
                      <a:pt x="13" y="20"/>
                      <a:pt x="9" y="20"/>
                      <a:pt x="6" y="17"/>
                    </a:cubicBezTo>
                    <a:cubicBezTo>
                      <a:pt x="2" y="14"/>
                      <a:pt x="1" y="10"/>
                      <a:pt x="1" y="6"/>
                    </a:cubicBezTo>
                    <a:cubicBezTo>
                      <a:pt x="0" y="4"/>
                      <a:pt x="2" y="3"/>
                      <a:pt x="3" y="2"/>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grpSp>
        <p:grpSp>
          <p:nvGrpSpPr>
            <p:cNvPr id="4" name="Group 11"/>
            <p:cNvGrpSpPr/>
            <p:nvPr/>
          </p:nvGrpSpPr>
          <p:grpSpPr>
            <a:xfrm>
              <a:off x="2633663" y="2895600"/>
              <a:ext cx="574675" cy="555625"/>
              <a:chOff x="1458913" y="5397500"/>
              <a:chExt cx="574675" cy="555625"/>
            </a:xfrm>
          </p:grpSpPr>
          <p:sp>
            <p:nvSpPr>
              <p:cNvPr id="13" name="Freeform 10"/>
              <p:cNvSpPr>
                <a:spLocks/>
              </p:cNvSpPr>
              <p:nvPr/>
            </p:nvSpPr>
            <p:spPr bwMode="auto">
              <a:xfrm>
                <a:off x="1581150" y="5397500"/>
                <a:ext cx="57150" cy="85725"/>
              </a:xfrm>
              <a:custGeom>
                <a:avLst/>
                <a:gdLst/>
                <a:ahLst/>
                <a:cxnLst>
                  <a:cxn ang="0">
                    <a:pos x="0" y="5"/>
                  </a:cxn>
                  <a:cxn ang="0">
                    <a:pos x="8" y="17"/>
                  </a:cxn>
                  <a:cxn ang="0">
                    <a:pos x="12" y="14"/>
                  </a:cxn>
                  <a:cxn ang="0">
                    <a:pos x="9" y="2"/>
                  </a:cxn>
                  <a:cxn ang="0">
                    <a:pos x="2" y="1"/>
                  </a:cxn>
                  <a:cxn ang="0">
                    <a:pos x="0" y="5"/>
                  </a:cxn>
                </a:cxnLst>
                <a:rect l="0" t="0" r="r" b="b"/>
                <a:pathLst>
                  <a:path w="13" h="19">
                    <a:moveTo>
                      <a:pt x="0" y="5"/>
                    </a:moveTo>
                    <a:cubicBezTo>
                      <a:pt x="1" y="7"/>
                      <a:pt x="2" y="13"/>
                      <a:pt x="8" y="17"/>
                    </a:cubicBezTo>
                    <a:cubicBezTo>
                      <a:pt x="11" y="19"/>
                      <a:pt x="12" y="16"/>
                      <a:pt x="12" y="14"/>
                    </a:cubicBezTo>
                    <a:cubicBezTo>
                      <a:pt x="12" y="10"/>
                      <a:pt x="13" y="5"/>
                      <a:pt x="9" y="2"/>
                    </a:cubicBezTo>
                    <a:cubicBezTo>
                      <a:pt x="7" y="0"/>
                      <a:pt x="3" y="1"/>
                      <a:pt x="2" y="1"/>
                    </a:cubicBezTo>
                    <a:cubicBezTo>
                      <a:pt x="1" y="2"/>
                      <a:pt x="0" y="3"/>
                      <a:pt x="0" y="5"/>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sp>
            <p:nvSpPr>
              <p:cNvPr id="14" name="Freeform 11"/>
              <p:cNvSpPr>
                <a:spLocks/>
              </p:cNvSpPr>
              <p:nvPr/>
            </p:nvSpPr>
            <p:spPr bwMode="auto">
              <a:xfrm>
                <a:off x="1458913" y="5527675"/>
                <a:ext cx="574675" cy="425450"/>
              </a:xfrm>
              <a:custGeom>
                <a:avLst/>
                <a:gdLst/>
                <a:ahLst/>
                <a:cxnLst>
                  <a:cxn ang="0">
                    <a:pos x="121" y="22"/>
                  </a:cxn>
                  <a:cxn ang="0">
                    <a:pos x="116" y="28"/>
                  </a:cxn>
                  <a:cxn ang="0">
                    <a:pos x="99" y="36"/>
                  </a:cxn>
                  <a:cxn ang="0">
                    <a:pos x="98" y="33"/>
                  </a:cxn>
                  <a:cxn ang="0">
                    <a:pos x="123" y="18"/>
                  </a:cxn>
                  <a:cxn ang="0">
                    <a:pos x="128" y="12"/>
                  </a:cxn>
                  <a:cxn ang="0">
                    <a:pos x="127" y="9"/>
                  </a:cxn>
                  <a:cxn ang="0">
                    <a:pos x="120" y="9"/>
                  </a:cxn>
                  <a:cxn ang="0">
                    <a:pos x="91" y="30"/>
                  </a:cxn>
                  <a:cxn ang="0">
                    <a:pos x="81" y="36"/>
                  </a:cxn>
                  <a:cxn ang="0">
                    <a:pos x="75" y="23"/>
                  </a:cxn>
                  <a:cxn ang="0">
                    <a:pos x="76" y="15"/>
                  </a:cxn>
                  <a:cxn ang="0">
                    <a:pos x="72" y="11"/>
                  </a:cxn>
                  <a:cxn ang="0">
                    <a:pos x="68" y="12"/>
                  </a:cxn>
                  <a:cxn ang="0">
                    <a:pos x="49" y="26"/>
                  </a:cxn>
                  <a:cxn ang="0">
                    <a:pos x="48" y="26"/>
                  </a:cxn>
                  <a:cxn ang="0">
                    <a:pos x="53" y="16"/>
                  </a:cxn>
                  <a:cxn ang="0">
                    <a:pos x="54" y="10"/>
                  </a:cxn>
                  <a:cxn ang="0">
                    <a:pos x="50" y="6"/>
                  </a:cxn>
                  <a:cxn ang="0">
                    <a:pos x="48" y="5"/>
                  </a:cxn>
                  <a:cxn ang="0">
                    <a:pos x="12" y="35"/>
                  </a:cxn>
                  <a:cxn ang="0">
                    <a:pos x="11" y="34"/>
                  </a:cxn>
                  <a:cxn ang="0">
                    <a:pos x="24" y="13"/>
                  </a:cxn>
                  <a:cxn ang="0">
                    <a:pos x="23" y="3"/>
                  </a:cxn>
                  <a:cxn ang="0">
                    <a:pos x="17" y="3"/>
                  </a:cxn>
                  <a:cxn ang="0">
                    <a:pos x="2" y="36"/>
                  </a:cxn>
                  <a:cxn ang="0">
                    <a:pos x="18" y="43"/>
                  </a:cxn>
                  <a:cxn ang="0">
                    <a:pos x="37" y="26"/>
                  </a:cxn>
                  <a:cxn ang="0">
                    <a:pos x="39" y="38"/>
                  </a:cxn>
                  <a:cxn ang="0">
                    <a:pos x="66" y="25"/>
                  </a:cxn>
                  <a:cxn ang="0">
                    <a:pos x="66" y="25"/>
                  </a:cxn>
                  <a:cxn ang="0">
                    <a:pos x="72" y="40"/>
                  </a:cxn>
                  <a:cxn ang="0">
                    <a:pos x="89" y="39"/>
                  </a:cxn>
                  <a:cxn ang="0">
                    <a:pos x="108" y="42"/>
                  </a:cxn>
                  <a:cxn ang="0">
                    <a:pos x="110" y="41"/>
                  </a:cxn>
                  <a:cxn ang="0">
                    <a:pos x="90" y="79"/>
                  </a:cxn>
                  <a:cxn ang="0">
                    <a:pos x="48" y="75"/>
                  </a:cxn>
                  <a:cxn ang="0">
                    <a:pos x="43" y="68"/>
                  </a:cxn>
                  <a:cxn ang="0">
                    <a:pos x="44" y="79"/>
                  </a:cxn>
                  <a:cxn ang="0">
                    <a:pos x="81" y="92"/>
                  </a:cxn>
                  <a:cxn ang="0">
                    <a:pos x="115" y="51"/>
                  </a:cxn>
                  <a:cxn ang="0">
                    <a:pos x="125" y="31"/>
                  </a:cxn>
                  <a:cxn ang="0">
                    <a:pos x="126" y="30"/>
                  </a:cxn>
                  <a:cxn ang="0">
                    <a:pos x="128" y="28"/>
                  </a:cxn>
                  <a:cxn ang="0">
                    <a:pos x="127" y="23"/>
                  </a:cxn>
                  <a:cxn ang="0">
                    <a:pos x="121" y="22"/>
                  </a:cxn>
                </a:cxnLst>
                <a:rect l="0" t="0" r="r" b="b"/>
                <a:pathLst>
                  <a:path w="128" h="95">
                    <a:moveTo>
                      <a:pt x="121" y="22"/>
                    </a:moveTo>
                    <a:cubicBezTo>
                      <a:pt x="117" y="25"/>
                      <a:pt x="117" y="27"/>
                      <a:pt x="116" y="28"/>
                    </a:cubicBezTo>
                    <a:cubicBezTo>
                      <a:pt x="112" y="32"/>
                      <a:pt x="102" y="36"/>
                      <a:pt x="99" y="36"/>
                    </a:cubicBezTo>
                    <a:cubicBezTo>
                      <a:pt x="96" y="37"/>
                      <a:pt x="96" y="36"/>
                      <a:pt x="98" y="33"/>
                    </a:cubicBezTo>
                    <a:cubicBezTo>
                      <a:pt x="105" y="24"/>
                      <a:pt x="118" y="19"/>
                      <a:pt x="123" y="18"/>
                    </a:cubicBezTo>
                    <a:cubicBezTo>
                      <a:pt x="127" y="17"/>
                      <a:pt x="128" y="14"/>
                      <a:pt x="128" y="12"/>
                    </a:cubicBezTo>
                    <a:cubicBezTo>
                      <a:pt x="128" y="11"/>
                      <a:pt x="128" y="10"/>
                      <a:pt x="127" y="9"/>
                    </a:cubicBezTo>
                    <a:cubicBezTo>
                      <a:pt x="126" y="9"/>
                      <a:pt x="124" y="9"/>
                      <a:pt x="120" y="9"/>
                    </a:cubicBezTo>
                    <a:cubicBezTo>
                      <a:pt x="113" y="11"/>
                      <a:pt x="95" y="18"/>
                      <a:pt x="91" y="30"/>
                    </a:cubicBezTo>
                    <a:cubicBezTo>
                      <a:pt x="87" y="34"/>
                      <a:pt x="84" y="35"/>
                      <a:pt x="81" y="36"/>
                    </a:cubicBezTo>
                    <a:cubicBezTo>
                      <a:pt x="75" y="39"/>
                      <a:pt x="74" y="30"/>
                      <a:pt x="75" y="23"/>
                    </a:cubicBezTo>
                    <a:cubicBezTo>
                      <a:pt x="76" y="18"/>
                      <a:pt x="76" y="17"/>
                      <a:pt x="76" y="15"/>
                    </a:cubicBezTo>
                    <a:cubicBezTo>
                      <a:pt x="75" y="15"/>
                      <a:pt x="74" y="13"/>
                      <a:pt x="72" y="11"/>
                    </a:cubicBezTo>
                    <a:cubicBezTo>
                      <a:pt x="71" y="10"/>
                      <a:pt x="70" y="10"/>
                      <a:pt x="68" y="12"/>
                    </a:cubicBezTo>
                    <a:cubicBezTo>
                      <a:pt x="62" y="16"/>
                      <a:pt x="61" y="19"/>
                      <a:pt x="49" y="26"/>
                    </a:cubicBezTo>
                    <a:cubicBezTo>
                      <a:pt x="48" y="26"/>
                      <a:pt x="47" y="27"/>
                      <a:pt x="48" y="26"/>
                    </a:cubicBezTo>
                    <a:cubicBezTo>
                      <a:pt x="48" y="24"/>
                      <a:pt x="50" y="20"/>
                      <a:pt x="53" y="16"/>
                    </a:cubicBezTo>
                    <a:cubicBezTo>
                      <a:pt x="54" y="14"/>
                      <a:pt x="54" y="12"/>
                      <a:pt x="54" y="10"/>
                    </a:cubicBezTo>
                    <a:cubicBezTo>
                      <a:pt x="53" y="9"/>
                      <a:pt x="52" y="7"/>
                      <a:pt x="50" y="6"/>
                    </a:cubicBezTo>
                    <a:cubicBezTo>
                      <a:pt x="50" y="5"/>
                      <a:pt x="49" y="5"/>
                      <a:pt x="48" y="5"/>
                    </a:cubicBezTo>
                    <a:cubicBezTo>
                      <a:pt x="44" y="7"/>
                      <a:pt x="33" y="21"/>
                      <a:pt x="12" y="35"/>
                    </a:cubicBezTo>
                    <a:cubicBezTo>
                      <a:pt x="12" y="35"/>
                      <a:pt x="11" y="35"/>
                      <a:pt x="11" y="34"/>
                    </a:cubicBezTo>
                    <a:cubicBezTo>
                      <a:pt x="11" y="31"/>
                      <a:pt x="18" y="19"/>
                      <a:pt x="24" y="13"/>
                    </a:cubicBezTo>
                    <a:cubicBezTo>
                      <a:pt x="27" y="9"/>
                      <a:pt x="26" y="7"/>
                      <a:pt x="23" y="3"/>
                    </a:cubicBezTo>
                    <a:cubicBezTo>
                      <a:pt x="22" y="2"/>
                      <a:pt x="18" y="0"/>
                      <a:pt x="17" y="3"/>
                    </a:cubicBezTo>
                    <a:cubicBezTo>
                      <a:pt x="11" y="14"/>
                      <a:pt x="0" y="25"/>
                      <a:pt x="2" y="36"/>
                    </a:cubicBezTo>
                    <a:cubicBezTo>
                      <a:pt x="5" y="47"/>
                      <a:pt x="12" y="48"/>
                      <a:pt x="18" y="43"/>
                    </a:cubicBezTo>
                    <a:cubicBezTo>
                      <a:pt x="23" y="38"/>
                      <a:pt x="32" y="31"/>
                      <a:pt x="37" y="26"/>
                    </a:cubicBezTo>
                    <a:cubicBezTo>
                      <a:pt x="36" y="32"/>
                      <a:pt x="37" y="35"/>
                      <a:pt x="39" y="38"/>
                    </a:cubicBezTo>
                    <a:cubicBezTo>
                      <a:pt x="45" y="47"/>
                      <a:pt x="59" y="29"/>
                      <a:pt x="66" y="25"/>
                    </a:cubicBezTo>
                    <a:cubicBezTo>
                      <a:pt x="66" y="25"/>
                      <a:pt x="66" y="25"/>
                      <a:pt x="66" y="25"/>
                    </a:cubicBezTo>
                    <a:cubicBezTo>
                      <a:pt x="67" y="27"/>
                      <a:pt x="67" y="34"/>
                      <a:pt x="72" y="40"/>
                    </a:cubicBezTo>
                    <a:cubicBezTo>
                      <a:pt x="78" y="47"/>
                      <a:pt x="85" y="43"/>
                      <a:pt x="89" y="39"/>
                    </a:cubicBezTo>
                    <a:cubicBezTo>
                      <a:pt x="90" y="45"/>
                      <a:pt x="95" y="48"/>
                      <a:pt x="108" y="42"/>
                    </a:cubicBezTo>
                    <a:cubicBezTo>
                      <a:pt x="109" y="42"/>
                      <a:pt x="109" y="42"/>
                      <a:pt x="110" y="41"/>
                    </a:cubicBezTo>
                    <a:cubicBezTo>
                      <a:pt x="108" y="49"/>
                      <a:pt x="102" y="70"/>
                      <a:pt x="90" y="79"/>
                    </a:cubicBezTo>
                    <a:cubicBezTo>
                      <a:pt x="77" y="88"/>
                      <a:pt x="59" y="89"/>
                      <a:pt x="48" y="75"/>
                    </a:cubicBezTo>
                    <a:cubicBezTo>
                      <a:pt x="45" y="71"/>
                      <a:pt x="45" y="68"/>
                      <a:pt x="43" y="68"/>
                    </a:cubicBezTo>
                    <a:cubicBezTo>
                      <a:pt x="40" y="69"/>
                      <a:pt x="43" y="77"/>
                      <a:pt x="44" y="79"/>
                    </a:cubicBezTo>
                    <a:cubicBezTo>
                      <a:pt x="51" y="93"/>
                      <a:pt x="67" y="95"/>
                      <a:pt x="81" y="92"/>
                    </a:cubicBezTo>
                    <a:cubicBezTo>
                      <a:pt x="101" y="88"/>
                      <a:pt x="112" y="64"/>
                      <a:pt x="115" y="51"/>
                    </a:cubicBezTo>
                    <a:cubicBezTo>
                      <a:pt x="117" y="45"/>
                      <a:pt x="120" y="36"/>
                      <a:pt x="125" y="31"/>
                    </a:cubicBezTo>
                    <a:cubicBezTo>
                      <a:pt x="125" y="30"/>
                      <a:pt x="126" y="30"/>
                      <a:pt x="126" y="30"/>
                    </a:cubicBezTo>
                    <a:cubicBezTo>
                      <a:pt x="127" y="29"/>
                      <a:pt x="128" y="28"/>
                      <a:pt x="128" y="28"/>
                    </a:cubicBezTo>
                    <a:cubicBezTo>
                      <a:pt x="128" y="27"/>
                      <a:pt x="128" y="26"/>
                      <a:pt x="127" y="23"/>
                    </a:cubicBezTo>
                    <a:cubicBezTo>
                      <a:pt x="125" y="20"/>
                      <a:pt x="123" y="20"/>
                      <a:pt x="121" y="22"/>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grpSp>
        <p:sp>
          <p:nvSpPr>
            <p:cNvPr id="15" name="Freeform 12"/>
            <p:cNvSpPr>
              <a:spLocks noEditPoints="1"/>
            </p:cNvSpPr>
            <p:nvPr/>
          </p:nvSpPr>
          <p:spPr bwMode="auto">
            <a:xfrm>
              <a:off x="3319463" y="2935288"/>
              <a:ext cx="363537" cy="557213"/>
            </a:xfrm>
            <a:custGeom>
              <a:avLst/>
              <a:gdLst/>
              <a:ahLst/>
              <a:cxnLst>
                <a:cxn ang="0">
                  <a:pos x="59" y="20"/>
                </a:cxn>
                <a:cxn ang="0">
                  <a:pos x="59" y="19"/>
                </a:cxn>
                <a:cxn ang="0">
                  <a:pos x="65" y="10"/>
                </a:cxn>
                <a:cxn ang="0">
                  <a:pos x="63" y="3"/>
                </a:cxn>
                <a:cxn ang="0">
                  <a:pos x="58" y="4"/>
                </a:cxn>
                <a:cxn ang="0">
                  <a:pos x="54" y="12"/>
                </a:cxn>
                <a:cxn ang="0">
                  <a:pos x="51" y="18"/>
                </a:cxn>
                <a:cxn ang="0">
                  <a:pos x="5" y="30"/>
                </a:cxn>
                <a:cxn ang="0">
                  <a:pos x="3" y="37"/>
                </a:cxn>
                <a:cxn ang="0">
                  <a:pos x="6" y="40"/>
                </a:cxn>
                <a:cxn ang="0">
                  <a:pos x="11" y="38"/>
                </a:cxn>
                <a:cxn ang="0">
                  <a:pos x="47" y="26"/>
                </a:cxn>
                <a:cxn ang="0">
                  <a:pos x="31" y="57"/>
                </a:cxn>
                <a:cxn ang="0">
                  <a:pos x="28" y="54"/>
                </a:cxn>
                <a:cxn ang="0">
                  <a:pos x="25" y="53"/>
                </a:cxn>
                <a:cxn ang="0">
                  <a:pos x="29" y="61"/>
                </a:cxn>
                <a:cxn ang="0">
                  <a:pos x="3" y="117"/>
                </a:cxn>
                <a:cxn ang="0">
                  <a:pos x="5" y="121"/>
                </a:cxn>
                <a:cxn ang="0">
                  <a:pos x="36" y="64"/>
                </a:cxn>
                <a:cxn ang="0">
                  <a:pos x="69" y="52"/>
                </a:cxn>
                <a:cxn ang="0">
                  <a:pos x="59" y="20"/>
                </a:cxn>
                <a:cxn ang="0">
                  <a:pos x="68" y="36"/>
                </a:cxn>
                <a:cxn ang="0">
                  <a:pos x="39" y="57"/>
                </a:cxn>
                <a:cxn ang="0">
                  <a:pos x="56" y="26"/>
                </a:cxn>
                <a:cxn ang="0">
                  <a:pos x="68" y="36"/>
                </a:cxn>
              </a:cxnLst>
              <a:rect l="0" t="0" r="r" b="b"/>
              <a:pathLst>
                <a:path w="81" h="124">
                  <a:moveTo>
                    <a:pt x="59" y="20"/>
                  </a:moveTo>
                  <a:cubicBezTo>
                    <a:pt x="59" y="20"/>
                    <a:pt x="59" y="19"/>
                    <a:pt x="59" y="19"/>
                  </a:cubicBezTo>
                  <a:cubicBezTo>
                    <a:pt x="59" y="19"/>
                    <a:pt x="64" y="12"/>
                    <a:pt x="65" y="10"/>
                  </a:cubicBezTo>
                  <a:cubicBezTo>
                    <a:pt x="66" y="7"/>
                    <a:pt x="64" y="5"/>
                    <a:pt x="63" y="3"/>
                  </a:cubicBezTo>
                  <a:cubicBezTo>
                    <a:pt x="62" y="1"/>
                    <a:pt x="61" y="0"/>
                    <a:pt x="58" y="4"/>
                  </a:cubicBezTo>
                  <a:cubicBezTo>
                    <a:pt x="58" y="5"/>
                    <a:pt x="56" y="9"/>
                    <a:pt x="54" y="12"/>
                  </a:cubicBezTo>
                  <a:cubicBezTo>
                    <a:pt x="53" y="14"/>
                    <a:pt x="52" y="16"/>
                    <a:pt x="51" y="18"/>
                  </a:cubicBezTo>
                  <a:cubicBezTo>
                    <a:pt x="38" y="18"/>
                    <a:pt x="19" y="22"/>
                    <a:pt x="5" y="30"/>
                  </a:cubicBezTo>
                  <a:cubicBezTo>
                    <a:pt x="3" y="33"/>
                    <a:pt x="1" y="34"/>
                    <a:pt x="3" y="37"/>
                  </a:cubicBezTo>
                  <a:cubicBezTo>
                    <a:pt x="4" y="39"/>
                    <a:pt x="6" y="40"/>
                    <a:pt x="6" y="40"/>
                  </a:cubicBezTo>
                  <a:cubicBezTo>
                    <a:pt x="8" y="41"/>
                    <a:pt x="9" y="41"/>
                    <a:pt x="11" y="38"/>
                  </a:cubicBezTo>
                  <a:cubicBezTo>
                    <a:pt x="12" y="36"/>
                    <a:pt x="28" y="27"/>
                    <a:pt x="47" y="26"/>
                  </a:cubicBezTo>
                  <a:cubicBezTo>
                    <a:pt x="42" y="35"/>
                    <a:pt x="37" y="45"/>
                    <a:pt x="31" y="57"/>
                  </a:cubicBezTo>
                  <a:cubicBezTo>
                    <a:pt x="30" y="56"/>
                    <a:pt x="29" y="55"/>
                    <a:pt x="28" y="54"/>
                  </a:cubicBezTo>
                  <a:cubicBezTo>
                    <a:pt x="26" y="52"/>
                    <a:pt x="25" y="53"/>
                    <a:pt x="25" y="53"/>
                  </a:cubicBezTo>
                  <a:cubicBezTo>
                    <a:pt x="24" y="55"/>
                    <a:pt x="24" y="58"/>
                    <a:pt x="29" y="61"/>
                  </a:cubicBezTo>
                  <a:cubicBezTo>
                    <a:pt x="21" y="77"/>
                    <a:pt x="13" y="94"/>
                    <a:pt x="3" y="117"/>
                  </a:cubicBezTo>
                  <a:cubicBezTo>
                    <a:pt x="0" y="123"/>
                    <a:pt x="2" y="124"/>
                    <a:pt x="5" y="121"/>
                  </a:cubicBezTo>
                  <a:cubicBezTo>
                    <a:pt x="11" y="114"/>
                    <a:pt x="29" y="78"/>
                    <a:pt x="36" y="64"/>
                  </a:cubicBezTo>
                  <a:cubicBezTo>
                    <a:pt x="46" y="66"/>
                    <a:pt x="61" y="63"/>
                    <a:pt x="69" y="52"/>
                  </a:cubicBezTo>
                  <a:cubicBezTo>
                    <a:pt x="78" y="41"/>
                    <a:pt x="81" y="27"/>
                    <a:pt x="59" y="20"/>
                  </a:cubicBezTo>
                  <a:moveTo>
                    <a:pt x="68" y="36"/>
                  </a:moveTo>
                  <a:cubicBezTo>
                    <a:pt x="66" y="46"/>
                    <a:pt x="54" y="57"/>
                    <a:pt x="39" y="57"/>
                  </a:cubicBezTo>
                  <a:cubicBezTo>
                    <a:pt x="46" y="45"/>
                    <a:pt x="52" y="33"/>
                    <a:pt x="56" y="26"/>
                  </a:cubicBezTo>
                  <a:cubicBezTo>
                    <a:pt x="64" y="27"/>
                    <a:pt x="69" y="30"/>
                    <a:pt x="68" y="36"/>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sp>
          <p:nvSpPr>
            <p:cNvPr id="16" name="Freeform 13"/>
            <p:cNvSpPr>
              <a:spLocks noEditPoints="1"/>
            </p:cNvSpPr>
            <p:nvPr/>
          </p:nvSpPr>
          <p:spPr bwMode="auto">
            <a:xfrm>
              <a:off x="4589463" y="2940050"/>
              <a:ext cx="388937" cy="561975"/>
            </a:xfrm>
            <a:custGeom>
              <a:avLst/>
              <a:gdLst/>
              <a:ahLst/>
              <a:cxnLst>
                <a:cxn ang="0">
                  <a:pos x="65" y="22"/>
                </a:cxn>
                <a:cxn ang="0">
                  <a:pos x="60" y="22"/>
                </a:cxn>
                <a:cxn ang="0">
                  <a:pos x="66" y="11"/>
                </a:cxn>
                <a:cxn ang="0">
                  <a:pos x="65" y="3"/>
                </a:cxn>
                <a:cxn ang="0">
                  <a:pos x="60" y="4"/>
                </a:cxn>
                <a:cxn ang="0">
                  <a:pos x="56" y="12"/>
                </a:cxn>
                <a:cxn ang="0">
                  <a:pos x="50" y="22"/>
                </a:cxn>
                <a:cxn ang="0">
                  <a:pos x="10" y="37"/>
                </a:cxn>
                <a:cxn ang="0">
                  <a:pos x="8" y="45"/>
                </a:cxn>
                <a:cxn ang="0">
                  <a:pos x="10" y="47"/>
                </a:cxn>
                <a:cxn ang="0">
                  <a:pos x="15" y="44"/>
                </a:cxn>
                <a:cxn ang="0">
                  <a:pos x="45" y="32"/>
                </a:cxn>
                <a:cxn ang="0">
                  <a:pos x="3" y="117"/>
                </a:cxn>
                <a:cxn ang="0">
                  <a:pos x="7" y="121"/>
                </a:cxn>
                <a:cxn ang="0">
                  <a:pos x="40" y="60"/>
                </a:cxn>
                <a:cxn ang="0">
                  <a:pos x="75" y="52"/>
                </a:cxn>
                <a:cxn ang="0">
                  <a:pos x="65" y="22"/>
                </a:cxn>
                <a:cxn ang="0">
                  <a:pos x="74" y="35"/>
                </a:cxn>
                <a:cxn ang="0">
                  <a:pos x="53" y="56"/>
                </a:cxn>
                <a:cxn ang="0">
                  <a:pos x="43" y="53"/>
                </a:cxn>
                <a:cxn ang="0">
                  <a:pos x="55" y="30"/>
                </a:cxn>
                <a:cxn ang="0">
                  <a:pos x="74" y="35"/>
                </a:cxn>
              </a:cxnLst>
              <a:rect l="0" t="0" r="r" b="b"/>
              <a:pathLst>
                <a:path w="87" h="125">
                  <a:moveTo>
                    <a:pt x="65" y="22"/>
                  </a:moveTo>
                  <a:cubicBezTo>
                    <a:pt x="63" y="22"/>
                    <a:pt x="62" y="22"/>
                    <a:pt x="60" y="22"/>
                  </a:cubicBezTo>
                  <a:cubicBezTo>
                    <a:pt x="62" y="18"/>
                    <a:pt x="66" y="12"/>
                    <a:pt x="66" y="11"/>
                  </a:cubicBezTo>
                  <a:cubicBezTo>
                    <a:pt x="67" y="8"/>
                    <a:pt x="67" y="5"/>
                    <a:pt x="65" y="3"/>
                  </a:cubicBezTo>
                  <a:cubicBezTo>
                    <a:pt x="64" y="1"/>
                    <a:pt x="62" y="0"/>
                    <a:pt x="60" y="4"/>
                  </a:cubicBezTo>
                  <a:cubicBezTo>
                    <a:pt x="59" y="5"/>
                    <a:pt x="57" y="9"/>
                    <a:pt x="56" y="12"/>
                  </a:cubicBezTo>
                  <a:cubicBezTo>
                    <a:pt x="54" y="15"/>
                    <a:pt x="52" y="19"/>
                    <a:pt x="50" y="22"/>
                  </a:cubicBezTo>
                  <a:cubicBezTo>
                    <a:pt x="37" y="24"/>
                    <a:pt x="22" y="29"/>
                    <a:pt x="10" y="37"/>
                  </a:cubicBezTo>
                  <a:cubicBezTo>
                    <a:pt x="7" y="39"/>
                    <a:pt x="6" y="42"/>
                    <a:pt x="8" y="45"/>
                  </a:cubicBezTo>
                  <a:cubicBezTo>
                    <a:pt x="9" y="47"/>
                    <a:pt x="10" y="47"/>
                    <a:pt x="10" y="47"/>
                  </a:cubicBezTo>
                  <a:cubicBezTo>
                    <a:pt x="12" y="48"/>
                    <a:pt x="13" y="46"/>
                    <a:pt x="15" y="44"/>
                  </a:cubicBezTo>
                  <a:cubicBezTo>
                    <a:pt x="16" y="41"/>
                    <a:pt x="27" y="35"/>
                    <a:pt x="45" y="32"/>
                  </a:cubicBezTo>
                  <a:cubicBezTo>
                    <a:pt x="27" y="65"/>
                    <a:pt x="16" y="92"/>
                    <a:pt x="3" y="117"/>
                  </a:cubicBezTo>
                  <a:cubicBezTo>
                    <a:pt x="0" y="122"/>
                    <a:pt x="4" y="125"/>
                    <a:pt x="7" y="121"/>
                  </a:cubicBezTo>
                  <a:cubicBezTo>
                    <a:pt x="14" y="114"/>
                    <a:pt x="36" y="67"/>
                    <a:pt x="40" y="60"/>
                  </a:cubicBezTo>
                  <a:cubicBezTo>
                    <a:pt x="47" y="71"/>
                    <a:pt x="66" y="62"/>
                    <a:pt x="75" y="52"/>
                  </a:cubicBezTo>
                  <a:cubicBezTo>
                    <a:pt x="84" y="40"/>
                    <a:pt x="87" y="26"/>
                    <a:pt x="65" y="22"/>
                  </a:cubicBezTo>
                  <a:moveTo>
                    <a:pt x="74" y="35"/>
                  </a:moveTo>
                  <a:cubicBezTo>
                    <a:pt x="73" y="39"/>
                    <a:pt x="67" y="52"/>
                    <a:pt x="53" y="56"/>
                  </a:cubicBezTo>
                  <a:cubicBezTo>
                    <a:pt x="48" y="58"/>
                    <a:pt x="44" y="56"/>
                    <a:pt x="43" y="53"/>
                  </a:cubicBezTo>
                  <a:cubicBezTo>
                    <a:pt x="48" y="43"/>
                    <a:pt x="51" y="36"/>
                    <a:pt x="55" y="30"/>
                  </a:cubicBezTo>
                  <a:cubicBezTo>
                    <a:pt x="65" y="29"/>
                    <a:pt x="75" y="30"/>
                    <a:pt x="74" y="35"/>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sp>
          <p:nvSpPr>
            <p:cNvPr id="17" name="Freeform 14"/>
            <p:cNvSpPr>
              <a:spLocks/>
            </p:cNvSpPr>
            <p:nvPr/>
          </p:nvSpPr>
          <p:spPr bwMode="auto">
            <a:xfrm>
              <a:off x="3678238" y="2824163"/>
              <a:ext cx="225425" cy="447675"/>
            </a:xfrm>
            <a:custGeom>
              <a:avLst/>
              <a:gdLst/>
              <a:ahLst/>
              <a:cxnLst>
                <a:cxn ang="0">
                  <a:pos x="1" y="86"/>
                </a:cxn>
                <a:cxn ang="0">
                  <a:pos x="5" y="95"/>
                </a:cxn>
                <a:cxn ang="0">
                  <a:pos x="9" y="78"/>
                </a:cxn>
                <a:cxn ang="0">
                  <a:pos x="47" y="11"/>
                </a:cxn>
                <a:cxn ang="0">
                  <a:pos x="50" y="5"/>
                </a:cxn>
                <a:cxn ang="0">
                  <a:pos x="48" y="2"/>
                </a:cxn>
                <a:cxn ang="0">
                  <a:pos x="44" y="2"/>
                </a:cxn>
                <a:cxn ang="0">
                  <a:pos x="1" y="86"/>
                </a:cxn>
              </a:cxnLst>
              <a:rect l="0" t="0" r="r" b="b"/>
              <a:pathLst>
                <a:path w="50" h="100">
                  <a:moveTo>
                    <a:pt x="1" y="86"/>
                  </a:moveTo>
                  <a:cubicBezTo>
                    <a:pt x="0" y="93"/>
                    <a:pt x="3" y="100"/>
                    <a:pt x="5" y="95"/>
                  </a:cubicBezTo>
                  <a:cubicBezTo>
                    <a:pt x="7" y="91"/>
                    <a:pt x="5" y="89"/>
                    <a:pt x="9" y="78"/>
                  </a:cubicBezTo>
                  <a:cubicBezTo>
                    <a:pt x="15" y="58"/>
                    <a:pt x="28" y="33"/>
                    <a:pt x="47" y="11"/>
                  </a:cubicBezTo>
                  <a:cubicBezTo>
                    <a:pt x="50" y="7"/>
                    <a:pt x="50" y="6"/>
                    <a:pt x="50" y="5"/>
                  </a:cubicBezTo>
                  <a:cubicBezTo>
                    <a:pt x="50" y="4"/>
                    <a:pt x="48" y="2"/>
                    <a:pt x="48" y="2"/>
                  </a:cubicBezTo>
                  <a:cubicBezTo>
                    <a:pt x="47" y="1"/>
                    <a:pt x="47" y="0"/>
                    <a:pt x="44" y="2"/>
                  </a:cubicBezTo>
                  <a:cubicBezTo>
                    <a:pt x="39" y="6"/>
                    <a:pt x="6" y="47"/>
                    <a:pt x="1" y="86"/>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sp>
          <p:nvSpPr>
            <p:cNvPr id="18" name="Freeform 15"/>
            <p:cNvSpPr>
              <a:spLocks noEditPoints="1"/>
            </p:cNvSpPr>
            <p:nvPr/>
          </p:nvSpPr>
          <p:spPr bwMode="auto">
            <a:xfrm>
              <a:off x="3768725" y="2927350"/>
              <a:ext cx="865187" cy="349250"/>
            </a:xfrm>
            <a:custGeom>
              <a:avLst/>
              <a:gdLst/>
              <a:ahLst/>
              <a:cxnLst>
                <a:cxn ang="0">
                  <a:pos x="187" y="28"/>
                </a:cxn>
                <a:cxn ang="0">
                  <a:pos x="153" y="28"/>
                </a:cxn>
                <a:cxn ang="0">
                  <a:pos x="159" y="19"/>
                </a:cxn>
                <a:cxn ang="0">
                  <a:pos x="163" y="6"/>
                </a:cxn>
                <a:cxn ang="0">
                  <a:pos x="156" y="3"/>
                </a:cxn>
                <a:cxn ang="0">
                  <a:pos x="152" y="13"/>
                </a:cxn>
                <a:cxn ang="0">
                  <a:pos x="143" y="29"/>
                </a:cxn>
                <a:cxn ang="0">
                  <a:pos x="133" y="31"/>
                </a:cxn>
                <a:cxn ang="0">
                  <a:pos x="133" y="37"/>
                </a:cxn>
                <a:cxn ang="0">
                  <a:pos x="134" y="38"/>
                </a:cxn>
                <a:cxn ang="0">
                  <a:pos x="105" y="57"/>
                </a:cxn>
                <a:cxn ang="0">
                  <a:pos x="103" y="57"/>
                </a:cxn>
                <a:cxn ang="0">
                  <a:pos x="107" y="49"/>
                </a:cxn>
                <a:cxn ang="0">
                  <a:pos x="108" y="47"/>
                </a:cxn>
                <a:cxn ang="0">
                  <a:pos x="106" y="42"/>
                </a:cxn>
                <a:cxn ang="0">
                  <a:pos x="101" y="41"/>
                </a:cxn>
                <a:cxn ang="0">
                  <a:pos x="82" y="52"/>
                </a:cxn>
                <a:cxn ang="0">
                  <a:pos x="81" y="52"/>
                </a:cxn>
                <a:cxn ang="0">
                  <a:pos x="86" y="40"/>
                </a:cxn>
                <a:cxn ang="0">
                  <a:pos x="84" y="31"/>
                </a:cxn>
                <a:cxn ang="0">
                  <a:pos x="79" y="32"/>
                </a:cxn>
                <a:cxn ang="0">
                  <a:pos x="79" y="33"/>
                </a:cxn>
                <a:cxn ang="0">
                  <a:pos x="41" y="60"/>
                </a:cxn>
                <a:cxn ang="0">
                  <a:pos x="39" y="57"/>
                </a:cxn>
                <a:cxn ang="0">
                  <a:pos x="51" y="38"/>
                </a:cxn>
                <a:cxn ang="0">
                  <a:pos x="51" y="23"/>
                </a:cxn>
                <a:cxn ang="0">
                  <a:pos x="41" y="17"/>
                </a:cxn>
                <a:cxn ang="0">
                  <a:pos x="1" y="56"/>
                </a:cxn>
                <a:cxn ang="0">
                  <a:pos x="2" y="65"/>
                </a:cxn>
                <a:cxn ang="0">
                  <a:pos x="12" y="67"/>
                </a:cxn>
                <a:cxn ang="0">
                  <a:pos x="31" y="55"/>
                </a:cxn>
                <a:cxn ang="0">
                  <a:pos x="31" y="60"/>
                </a:cxn>
                <a:cxn ang="0">
                  <a:pos x="48" y="66"/>
                </a:cxn>
                <a:cxn ang="0">
                  <a:pos x="73" y="47"/>
                </a:cxn>
                <a:cxn ang="0">
                  <a:pos x="69" y="56"/>
                </a:cxn>
                <a:cxn ang="0">
                  <a:pos x="70" y="63"/>
                </a:cxn>
                <a:cxn ang="0">
                  <a:pos x="79" y="65"/>
                </a:cxn>
                <a:cxn ang="0">
                  <a:pos x="94" y="54"/>
                </a:cxn>
                <a:cxn ang="0">
                  <a:pos x="96" y="65"/>
                </a:cxn>
                <a:cxn ang="0">
                  <a:pos x="136" y="45"/>
                </a:cxn>
                <a:cxn ang="0">
                  <a:pos x="131" y="67"/>
                </a:cxn>
                <a:cxn ang="0">
                  <a:pos x="133" y="76"/>
                </a:cxn>
                <a:cxn ang="0">
                  <a:pos x="137" y="73"/>
                </a:cxn>
                <a:cxn ang="0">
                  <a:pos x="149" y="38"/>
                </a:cxn>
                <a:cxn ang="0">
                  <a:pos x="189" y="33"/>
                </a:cxn>
                <a:cxn ang="0">
                  <a:pos x="187" y="28"/>
                </a:cxn>
                <a:cxn ang="0">
                  <a:pos x="38" y="39"/>
                </a:cxn>
                <a:cxn ang="0">
                  <a:pos x="11" y="58"/>
                </a:cxn>
                <a:cxn ang="0">
                  <a:pos x="10" y="56"/>
                </a:cxn>
                <a:cxn ang="0">
                  <a:pos x="43" y="26"/>
                </a:cxn>
                <a:cxn ang="0">
                  <a:pos x="46" y="29"/>
                </a:cxn>
                <a:cxn ang="0">
                  <a:pos x="43" y="37"/>
                </a:cxn>
                <a:cxn ang="0">
                  <a:pos x="38" y="39"/>
                </a:cxn>
                <a:cxn ang="0">
                  <a:pos x="138" y="40"/>
                </a:cxn>
                <a:cxn ang="0">
                  <a:pos x="138" y="40"/>
                </a:cxn>
                <a:cxn ang="0">
                  <a:pos x="138" y="40"/>
                </a:cxn>
                <a:cxn ang="0">
                  <a:pos x="138" y="40"/>
                </a:cxn>
              </a:cxnLst>
              <a:rect l="0" t="0" r="r" b="b"/>
              <a:pathLst>
                <a:path w="193" h="78">
                  <a:moveTo>
                    <a:pt x="187" y="28"/>
                  </a:moveTo>
                  <a:cubicBezTo>
                    <a:pt x="171" y="27"/>
                    <a:pt x="160" y="27"/>
                    <a:pt x="153" y="28"/>
                  </a:cubicBezTo>
                  <a:cubicBezTo>
                    <a:pt x="155" y="24"/>
                    <a:pt x="157" y="21"/>
                    <a:pt x="159" y="19"/>
                  </a:cubicBezTo>
                  <a:cubicBezTo>
                    <a:pt x="164" y="13"/>
                    <a:pt x="165" y="9"/>
                    <a:pt x="163" y="6"/>
                  </a:cubicBezTo>
                  <a:cubicBezTo>
                    <a:pt x="162" y="2"/>
                    <a:pt x="158" y="0"/>
                    <a:pt x="156" y="3"/>
                  </a:cubicBezTo>
                  <a:cubicBezTo>
                    <a:pt x="154" y="6"/>
                    <a:pt x="156" y="5"/>
                    <a:pt x="152" y="13"/>
                  </a:cubicBezTo>
                  <a:cubicBezTo>
                    <a:pt x="150" y="16"/>
                    <a:pt x="146" y="22"/>
                    <a:pt x="143" y="29"/>
                  </a:cubicBezTo>
                  <a:cubicBezTo>
                    <a:pt x="139" y="30"/>
                    <a:pt x="135" y="30"/>
                    <a:pt x="133" y="31"/>
                  </a:cubicBezTo>
                  <a:cubicBezTo>
                    <a:pt x="131" y="32"/>
                    <a:pt x="131" y="34"/>
                    <a:pt x="133" y="37"/>
                  </a:cubicBezTo>
                  <a:cubicBezTo>
                    <a:pt x="133" y="38"/>
                    <a:pt x="133" y="38"/>
                    <a:pt x="134" y="38"/>
                  </a:cubicBezTo>
                  <a:cubicBezTo>
                    <a:pt x="117" y="54"/>
                    <a:pt x="108" y="56"/>
                    <a:pt x="105" y="57"/>
                  </a:cubicBezTo>
                  <a:cubicBezTo>
                    <a:pt x="104" y="58"/>
                    <a:pt x="103" y="58"/>
                    <a:pt x="103" y="57"/>
                  </a:cubicBezTo>
                  <a:cubicBezTo>
                    <a:pt x="103" y="55"/>
                    <a:pt x="107" y="50"/>
                    <a:pt x="107" y="49"/>
                  </a:cubicBezTo>
                  <a:cubicBezTo>
                    <a:pt x="109" y="48"/>
                    <a:pt x="108" y="48"/>
                    <a:pt x="108" y="47"/>
                  </a:cubicBezTo>
                  <a:cubicBezTo>
                    <a:pt x="108" y="45"/>
                    <a:pt x="107" y="43"/>
                    <a:pt x="106" y="42"/>
                  </a:cubicBezTo>
                  <a:cubicBezTo>
                    <a:pt x="105" y="41"/>
                    <a:pt x="104" y="40"/>
                    <a:pt x="101" y="41"/>
                  </a:cubicBezTo>
                  <a:cubicBezTo>
                    <a:pt x="98" y="43"/>
                    <a:pt x="85" y="51"/>
                    <a:pt x="82" y="52"/>
                  </a:cubicBezTo>
                  <a:cubicBezTo>
                    <a:pt x="81" y="53"/>
                    <a:pt x="81" y="53"/>
                    <a:pt x="81" y="52"/>
                  </a:cubicBezTo>
                  <a:cubicBezTo>
                    <a:pt x="82" y="49"/>
                    <a:pt x="84" y="44"/>
                    <a:pt x="86" y="40"/>
                  </a:cubicBezTo>
                  <a:cubicBezTo>
                    <a:pt x="88" y="36"/>
                    <a:pt x="87" y="33"/>
                    <a:pt x="84" y="31"/>
                  </a:cubicBezTo>
                  <a:cubicBezTo>
                    <a:pt x="82" y="30"/>
                    <a:pt x="81" y="30"/>
                    <a:pt x="79" y="32"/>
                  </a:cubicBezTo>
                  <a:cubicBezTo>
                    <a:pt x="79" y="33"/>
                    <a:pt x="79" y="33"/>
                    <a:pt x="79" y="33"/>
                  </a:cubicBezTo>
                  <a:cubicBezTo>
                    <a:pt x="72" y="41"/>
                    <a:pt x="51" y="55"/>
                    <a:pt x="41" y="60"/>
                  </a:cubicBezTo>
                  <a:cubicBezTo>
                    <a:pt x="38" y="61"/>
                    <a:pt x="38" y="60"/>
                    <a:pt x="39" y="57"/>
                  </a:cubicBezTo>
                  <a:cubicBezTo>
                    <a:pt x="41" y="53"/>
                    <a:pt x="47" y="47"/>
                    <a:pt x="51" y="38"/>
                  </a:cubicBezTo>
                  <a:cubicBezTo>
                    <a:pt x="52" y="35"/>
                    <a:pt x="55" y="30"/>
                    <a:pt x="51" y="23"/>
                  </a:cubicBezTo>
                  <a:cubicBezTo>
                    <a:pt x="47" y="15"/>
                    <a:pt x="44" y="16"/>
                    <a:pt x="41" y="17"/>
                  </a:cubicBezTo>
                  <a:cubicBezTo>
                    <a:pt x="37" y="19"/>
                    <a:pt x="11" y="30"/>
                    <a:pt x="1" y="56"/>
                  </a:cubicBezTo>
                  <a:cubicBezTo>
                    <a:pt x="0" y="60"/>
                    <a:pt x="1" y="62"/>
                    <a:pt x="2" y="65"/>
                  </a:cubicBezTo>
                  <a:cubicBezTo>
                    <a:pt x="5" y="68"/>
                    <a:pt x="8" y="69"/>
                    <a:pt x="12" y="67"/>
                  </a:cubicBezTo>
                  <a:cubicBezTo>
                    <a:pt x="16" y="66"/>
                    <a:pt x="24" y="60"/>
                    <a:pt x="31" y="55"/>
                  </a:cubicBezTo>
                  <a:cubicBezTo>
                    <a:pt x="31" y="57"/>
                    <a:pt x="31" y="59"/>
                    <a:pt x="31" y="60"/>
                  </a:cubicBezTo>
                  <a:cubicBezTo>
                    <a:pt x="33" y="69"/>
                    <a:pt x="38" y="72"/>
                    <a:pt x="48" y="66"/>
                  </a:cubicBezTo>
                  <a:cubicBezTo>
                    <a:pt x="53" y="62"/>
                    <a:pt x="66" y="53"/>
                    <a:pt x="73" y="47"/>
                  </a:cubicBezTo>
                  <a:cubicBezTo>
                    <a:pt x="72" y="50"/>
                    <a:pt x="70" y="54"/>
                    <a:pt x="69" y="56"/>
                  </a:cubicBezTo>
                  <a:cubicBezTo>
                    <a:pt x="68" y="59"/>
                    <a:pt x="69" y="61"/>
                    <a:pt x="70" y="63"/>
                  </a:cubicBezTo>
                  <a:cubicBezTo>
                    <a:pt x="71" y="67"/>
                    <a:pt x="74" y="69"/>
                    <a:pt x="79" y="65"/>
                  </a:cubicBezTo>
                  <a:cubicBezTo>
                    <a:pt x="81" y="63"/>
                    <a:pt x="89" y="58"/>
                    <a:pt x="94" y="54"/>
                  </a:cubicBezTo>
                  <a:cubicBezTo>
                    <a:pt x="93" y="59"/>
                    <a:pt x="94" y="63"/>
                    <a:pt x="96" y="65"/>
                  </a:cubicBezTo>
                  <a:cubicBezTo>
                    <a:pt x="104" y="76"/>
                    <a:pt x="126" y="55"/>
                    <a:pt x="136" y="45"/>
                  </a:cubicBezTo>
                  <a:cubicBezTo>
                    <a:pt x="134" y="52"/>
                    <a:pt x="132" y="60"/>
                    <a:pt x="131" y="67"/>
                  </a:cubicBezTo>
                  <a:cubicBezTo>
                    <a:pt x="130" y="73"/>
                    <a:pt x="132" y="75"/>
                    <a:pt x="133" y="76"/>
                  </a:cubicBezTo>
                  <a:cubicBezTo>
                    <a:pt x="137" y="78"/>
                    <a:pt x="137" y="75"/>
                    <a:pt x="137" y="73"/>
                  </a:cubicBezTo>
                  <a:cubicBezTo>
                    <a:pt x="138" y="69"/>
                    <a:pt x="142" y="53"/>
                    <a:pt x="149" y="38"/>
                  </a:cubicBezTo>
                  <a:cubicBezTo>
                    <a:pt x="169" y="34"/>
                    <a:pt x="183" y="36"/>
                    <a:pt x="189" y="33"/>
                  </a:cubicBezTo>
                  <a:cubicBezTo>
                    <a:pt x="192" y="32"/>
                    <a:pt x="193" y="29"/>
                    <a:pt x="187" y="28"/>
                  </a:cubicBezTo>
                  <a:moveTo>
                    <a:pt x="38" y="39"/>
                  </a:moveTo>
                  <a:cubicBezTo>
                    <a:pt x="28" y="49"/>
                    <a:pt x="16" y="55"/>
                    <a:pt x="11" y="58"/>
                  </a:cubicBezTo>
                  <a:cubicBezTo>
                    <a:pt x="9" y="59"/>
                    <a:pt x="9" y="58"/>
                    <a:pt x="10" y="56"/>
                  </a:cubicBezTo>
                  <a:cubicBezTo>
                    <a:pt x="14" y="49"/>
                    <a:pt x="27" y="31"/>
                    <a:pt x="43" y="26"/>
                  </a:cubicBezTo>
                  <a:cubicBezTo>
                    <a:pt x="47" y="25"/>
                    <a:pt x="46" y="26"/>
                    <a:pt x="46" y="29"/>
                  </a:cubicBezTo>
                  <a:cubicBezTo>
                    <a:pt x="46" y="32"/>
                    <a:pt x="45" y="34"/>
                    <a:pt x="43" y="37"/>
                  </a:cubicBezTo>
                  <a:cubicBezTo>
                    <a:pt x="42" y="36"/>
                    <a:pt x="41" y="37"/>
                    <a:pt x="38" y="39"/>
                  </a:cubicBezTo>
                  <a:moveTo>
                    <a:pt x="138" y="40"/>
                  </a:moveTo>
                  <a:cubicBezTo>
                    <a:pt x="138" y="40"/>
                    <a:pt x="138" y="40"/>
                    <a:pt x="138" y="40"/>
                  </a:cubicBezTo>
                  <a:cubicBezTo>
                    <a:pt x="138" y="40"/>
                    <a:pt x="138" y="40"/>
                    <a:pt x="138" y="40"/>
                  </a:cubicBezTo>
                  <a:cubicBezTo>
                    <a:pt x="138" y="40"/>
                    <a:pt x="138" y="40"/>
                    <a:pt x="138" y="40"/>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sp>
          <p:nvSpPr>
            <p:cNvPr id="19" name="Freeform 17"/>
            <p:cNvSpPr>
              <a:spLocks noEditPoints="1"/>
            </p:cNvSpPr>
            <p:nvPr/>
          </p:nvSpPr>
          <p:spPr bwMode="auto">
            <a:xfrm>
              <a:off x="6642100" y="2927350"/>
              <a:ext cx="368300" cy="349250"/>
            </a:xfrm>
            <a:custGeom>
              <a:avLst/>
              <a:gdLst/>
              <a:ahLst/>
              <a:cxnLst>
                <a:cxn ang="0">
                  <a:pos x="79" y="45"/>
                </a:cxn>
                <a:cxn ang="0">
                  <a:pos x="74" y="37"/>
                </a:cxn>
                <a:cxn ang="0">
                  <a:pos x="75" y="34"/>
                </a:cxn>
                <a:cxn ang="0">
                  <a:pos x="74" y="33"/>
                </a:cxn>
                <a:cxn ang="0">
                  <a:pos x="72" y="30"/>
                </a:cxn>
                <a:cxn ang="0">
                  <a:pos x="67" y="28"/>
                </a:cxn>
                <a:cxn ang="0">
                  <a:pos x="64" y="29"/>
                </a:cxn>
                <a:cxn ang="0">
                  <a:pos x="36" y="29"/>
                </a:cxn>
                <a:cxn ang="0">
                  <a:pos x="46" y="13"/>
                </a:cxn>
                <a:cxn ang="0">
                  <a:pos x="50" y="5"/>
                </a:cxn>
                <a:cxn ang="0">
                  <a:pos x="46" y="1"/>
                </a:cxn>
                <a:cxn ang="0">
                  <a:pos x="42" y="2"/>
                </a:cxn>
                <a:cxn ang="0">
                  <a:pos x="24" y="30"/>
                </a:cxn>
                <a:cxn ang="0">
                  <a:pos x="16" y="31"/>
                </a:cxn>
                <a:cxn ang="0">
                  <a:pos x="5" y="33"/>
                </a:cxn>
                <a:cxn ang="0">
                  <a:pos x="1" y="37"/>
                </a:cxn>
                <a:cxn ang="0">
                  <a:pos x="4" y="42"/>
                </a:cxn>
                <a:cxn ang="0">
                  <a:pos x="19" y="41"/>
                </a:cxn>
                <a:cxn ang="0">
                  <a:pos x="6" y="68"/>
                </a:cxn>
                <a:cxn ang="0">
                  <a:pos x="6" y="75"/>
                </a:cxn>
                <a:cxn ang="0">
                  <a:pos x="14" y="68"/>
                </a:cxn>
                <a:cxn ang="0">
                  <a:pos x="30" y="38"/>
                </a:cxn>
                <a:cxn ang="0">
                  <a:pos x="52" y="36"/>
                </a:cxn>
                <a:cxn ang="0">
                  <a:pos x="41" y="49"/>
                </a:cxn>
                <a:cxn ang="0">
                  <a:pos x="42" y="63"/>
                </a:cxn>
                <a:cxn ang="0">
                  <a:pos x="70" y="62"/>
                </a:cxn>
                <a:cxn ang="0">
                  <a:pos x="79" y="45"/>
                </a:cxn>
                <a:cxn ang="0">
                  <a:pos x="50" y="59"/>
                </a:cxn>
                <a:cxn ang="0">
                  <a:pos x="48" y="58"/>
                </a:cxn>
                <a:cxn ang="0">
                  <a:pos x="60" y="43"/>
                </a:cxn>
                <a:cxn ang="0">
                  <a:pos x="68" y="39"/>
                </a:cxn>
                <a:cxn ang="0">
                  <a:pos x="72" y="44"/>
                </a:cxn>
                <a:cxn ang="0">
                  <a:pos x="50" y="59"/>
                </a:cxn>
              </a:cxnLst>
              <a:rect l="0" t="0" r="r" b="b"/>
              <a:pathLst>
                <a:path w="82" h="78">
                  <a:moveTo>
                    <a:pt x="79" y="45"/>
                  </a:moveTo>
                  <a:cubicBezTo>
                    <a:pt x="78" y="42"/>
                    <a:pt x="77" y="39"/>
                    <a:pt x="74" y="37"/>
                  </a:cubicBezTo>
                  <a:cubicBezTo>
                    <a:pt x="75" y="36"/>
                    <a:pt x="75" y="35"/>
                    <a:pt x="75" y="34"/>
                  </a:cubicBezTo>
                  <a:cubicBezTo>
                    <a:pt x="75" y="34"/>
                    <a:pt x="75" y="34"/>
                    <a:pt x="74" y="33"/>
                  </a:cubicBezTo>
                  <a:cubicBezTo>
                    <a:pt x="74" y="32"/>
                    <a:pt x="73" y="31"/>
                    <a:pt x="72" y="30"/>
                  </a:cubicBezTo>
                  <a:cubicBezTo>
                    <a:pt x="72" y="29"/>
                    <a:pt x="71" y="28"/>
                    <a:pt x="67" y="28"/>
                  </a:cubicBezTo>
                  <a:cubicBezTo>
                    <a:pt x="66" y="29"/>
                    <a:pt x="65" y="29"/>
                    <a:pt x="64" y="29"/>
                  </a:cubicBezTo>
                  <a:cubicBezTo>
                    <a:pt x="57" y="29"/>
                    <a:pt x="47" y="28"/>
                    <a:pt x="36" y="29"/>
                  </a:cubicBezTo>
                  <a:cubicBezTo>
                    <a:pt x="40" y="23"/>
                    <a:pt x="43" y="17"/>
                    <a:pt x="46" y="13"/>
                  </a:cubicBezTo>
                  <a:cubicBezTo>
                    <a:pt x="49" y="10"/>
                    <a:pt x="51" y="8"/>
                    <a:pt x="50" y="5"/>
                  </a:cubicBezTo>
                  <a:cubicBezTo>
                    <a:pt x="48" y="1"/>
                    <a:pt x="46" y="1"/>
                    <a:pt x="46" y="1"/>
                  </a:cubicBezTo>
                  <a:cubicBezTo>
                    <a:pt x="44" y="0"/>
                    <a:pt x="43" y="0"/>
                    <a:pt x="42" y="2"/>
                  </a:cubicBezTo>
                  <a:cubicBezTo>
                    <a:pt x="37" y="7"/>
                    <a:pt x="31" y="18"/>
                    <a:pt x="24" y="30"/>
                  </a:cubicBezTo>
                  <a:cubicBezTo>
                    <a:pt x="21" y="31"/>
                    <a:pt x="19" y="31"/>
                    <a:pt x="16" y="31"/>
                  </a:cubicBezTo>
                  <a:cubicBezTo>
                    <a:pt x="14" y="32"/>
                    <a:pt x="9" y="32"/>
                    <a:pt x="5" y="33"/>
                  </a:cubicBezTo>
                  <a:cubicBezTo>
                    <a:pt x="3" y="33"/>
                    <a:pt x="0" y="34"/>
                    <a:pt x="1" y="37"/>
                  </a:cubicBezTo>
                  <a:cubicBezTo>
                    <a:pt x="3" y="41"/>
                    <a:pt x="4" y="42"/>
                    <a:pt x="4" y="42"/>
                  </a:cubicBezTo>
                  <a:cubicBezTo>
                    <a:pt x="7" y="45"/>
                    <a:pt x="10" y="42"/>
                    <a:pt x="19" y="41"/>
                  </a:cubicBezTo>
                  <a:cubicBezTo>
                    <a:pt x="13" y="51"/>
                    <a:pt x="9" y="60"/>
                    <a:pt x="6" y="68"/>
                  </a:cubicBezTo>
                  <a:cubicBezTo>
                    <a:pt x="4" y="73"/>
                    <a:pt x="5" y="75"/>
                    <a:pt x="6" y="75"/>
                  </a:cubicBezTo>
                  <a:cubicBezTo>
                    <a:pt x="8" y="78"/>
                    <a:pt x="12" y="72"/>
                    <a:pt x="14" y="68"/>
                  </a:cubicBezTo>
                  <a:cubicBezTo>
                    <a:pt x="16" y="64"/>
                    <a:pt x="23" y="51"/>
                    <a:pt x="30" y="38"/>
                  </a:cubicBezTo>
                  <a:cubicBezTo>
                    <a:pt x="37" y="37"/>
                    <a:pt x="45" y="36"/>
                    <a:pt x="52" y="36"/>
                  </a:cubicBezTo>
                  <a:cubicBezTo>
                    <a:pt x="47" y="41"/>
                    <a:pt x="43" y="46"/>
                    <a:pt x="41" y="49"/>
                  </a:cubicBezTo>
                  <a:cubicBezTo>
                    <a:pt x="39" y="53"/>
                    <a:pt x="38" y="55"/>
                    <a:pt x="42" y="63"/>
                  </a:cubicBezTo>
                  <a:cubicBezTo>
                    <a:pt x="48" y="70"/>
                    <a:pt x="60" y="68"/>
                    <a:pt x="70" y="62"/>
                  </a:cubicBezTo>
                  <a:cubicBezTo>
                    <a:pt x="77" y="58"/>
                    <a:pt x="82" y="53"/>
                    <a:pt x="79" y="45"/>
                  </a:cubicBezTo>
                  <a:moveTo>
                    <a:pt x="50" y="59"/>
                  </a:moveTo>
                  <a:cubicBezTo>
                    <a:pt x="49" y="59"/>
                    <a:pt x="48" y="59"/>
                    <a:pt x="48" y="58"/>
                  </a:cubicBezTo>
                  <a:cubicBezTo>
                    <a:pt x="49" y="55"/>
                    <a:pt x="51" y="51"/>
                    <a:pt x="60" y="43"/>
                  </a:cubicBezTo>
                  <a:cubicBezTo>
                    <a:pt x="63" y="41"/>
                    <a:pt x="65" y="40"/>
                    <a:pt x="68" y="39"/>
                  </a:cubicBezTo>
                  <a:cubicBezTo>
                    <a:pt x="71" y="40"/>
                    <a:pt x="72" y="43"/>
                    <a:pt x="72" y="44"/>
                  </a:cubicBezTo>
                  <a:cubicBezTo>
                    <a:pt x="74" y="53"/>
                    <a:pt x="56" y="60"/>
                    <a:pt x="50" y="59"/>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sp>
          <p:nvSpPr>
            <p:cNvPr id="20" name="Freeform 18"/>
            <p:cNvSpPr>
              <a:spLocks/>
            </p:cNvSpPr>
            <p:nvPr/>
          </p:nvSpPr>
          <p:spPr bwMode="auto">
            <a:xfrm>
              <a:off x="7399338" y="2895600"/>
              <a:ext cx="76200" cy="80963"/>
            </a:xfrm>
            <a:custGeom>
              <a:avLst/>
              <a:gdLst/>
              <a:ahLst/>
              <a:cxnLst>
                <a:cxn ang="0">
                  <a:pos x="2" y="11"/>
                </a:cxn>
                <a:cxn ang="0">
                  <a:pos x="3" y="2"/>
                </a:cxn>
                <a:cxn ang="0">
                  <a:pos x="9" y="2"/>
                </a:cxn>
                <a:cxn ang="0">
                  <a:pos x="13" y="13"/>
                </a:cxn>
                <a:cxn ang="0">
                  <a:pos x="2" y="11"/>
                </a:cxn>
              </a:cxnLst>
              <a:rect l="0" t="0" r="r" b="b"/>
              <a:pathLst>
                <a:path w="17" h="18">
                  <a:moveTo>
                    <a:pt x="2" y="11"/>
                  </a:moveTo>
                  <a:cubicBezTo>
                    <a:pt x="0" y="8"/>
                    <a:pt x="1" y="5"/>
                    <a:pt x="3" y="2"/>
                  </a:cubicBezTo>
                  <a:cubicBezTo>
                    <a:pt x="5" y="1"/>
                    <a:pt x="6" y="0"/>
                    <a:pt x="9" y="2"/>
                  </a:cubicBezTo>
                  <a:cubicBezTo>
                    <a:pt x="12" y="5"/>
                    <a:pt x="17" y="9"/>
                    <a:pt x="13" y="13"/>
                  </a:cubicBezTo>
                  <a:cubicBezTo>
                    <a:pt x="9" y="18"/>
                    <a:pt x="5" y="17"/>
                    <a:pt x="2" y="11"/>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sp>
          <p:nvSpPr>
            <p:cNvPr id="21" name="Freeform 19"/>
            <p:cNvSpPr>
              <a:spLocks noEditPoints="1"/>
            </p:cNvSpPr>
            <p:nvPr/>
          </p:nvSpPr>
          <p:spPr bwMode="auto">
            <a:xfrm>
              <a:off x="7089775" y="2863850"/>
              <a:ext cx="758825" cy="592138"/>
            </a:xfrm>
            <a:custGeom>
              <a:avLst/>
              <a:gdLst/>
              <a:ahLst/>
              <a:cxnLst>
                <a:cxn ang="0">
                  <a:pos x="167" y="59"/>
                </a:cxn>
                <a:cxn ang="0">
                  <a:pos x="150" y="68"/>
                </a:cxn>
                <a:cxn ang="0">
                  <a:pos x="110" y="69"/>
                </a:cxn>
                <a:cxn ang="0">
                  <a:pos x="138" y="57"/>
                </a:cxn>
                <a:cxn ang="0">
                  <a:pos x="139" y="39"/>
                </a:cxn>
                <a:cxn ang="0">
                  <a:pos x="110" y="52"/>
                </a:cxn>
                <a:cxn ang="0">
                  <a:pos x="104" y="63"/>
                </a:cxn>
                <a:cxn ang="0">
                  <a:pos x="89" y="65"/>
                </a:cxn>
                <a:cxn ang="0">
                  <a:pos x="100" y="47"/>
                </a:cxn>
                <a:cxn ang="0">
                  <a:pos x="119" y="15"/>
                </a:cxn>
                <a:cxn ang="0">
                  <a:pos x="111" y="15"/>
                </a:cxn>
                <a:cxn ang="0">
                  <a:pos x="94" y="42"/>
                </a:cxn>
                <a:cxn ang="0">
                  <a:pos x="70" y="64"/>
                </a:cxn>
                <a:cxn ang="0">
                  <a:pos x="68" y="64"/>
                </a:cxn>
                <a:cxn ang="0">
                  <a:pos x="65" y="68"/>
                </a:cxn>
                <a:cxn ang="0">
                  <a:pos x="50" y="74"/>
                </a:cxn>
                <a:cxn ang="0">
                  <a:pos x="49" y="72"/>
                </a:cxn>
                <a:cxn ang="0">
                  <a:pos x="53" y="60"/>
                </a:cxn>
                <a:cxn ang="0">
                  <a:pos x="62" y="45"/>
                </a:cxn>
                <a:cxn ang="0">
                  <a:pos x="58" y="42"/>
                </a:cxn>
                <a:cxn ang="0">
                  <a:pos x="52" y="46"/>
                </a:cxn>
                <a:cxn ang="0">
                  <a:pos x="47" y="53"/>
                </a:cxn>
                <a:cxn ang="0">
                  <a:pos x="13" y="76"/>
                </a:cxn>
                <a:cxn ang="0">
                  <a:pos x="10" y="74"/>
                </a:cxn>
                <a:cxn ang="0">
                  <a:pos x="52" y="11"/>
                </a:cxn>
                <a:cxn ang="0">
                  <a:pos x="54" y="7"/>
                </a:cxn>
                <a:cxn ang="0">
                  <a:pos x="52" y="2"/>
                </a:cxn>
                <a:cxn ang="0">
                  <a:pos x="47" y="2"/>
                </a:cxn>
                <a:cxn ang="0">
                  <a:pos x="2" y="71"/>
                </a:cxn>
                <a:cxn ang="0">
                  <a:pos x="4" y="82"/>
                </a:cxn>
                <a:cxn ang="0">
                  <a:pos x="42" y="66"/>
                </a:cxn>
                <a:cxn ang="0">
                  <a:pos x="41" y="74"/>
                </a:cxn>
                <a:cxn ang="0">
                  <a:pos x="71" y="74"/>
                </a:cxn>
                <a:cxn ang="0">
                  <a:pos x="76" y="74"/>
                </a:cxn>
                <a:cxn ang="0">
                  <a:pos x="55" y="124"/>
                </a:cxn>
                <a:cxn ang="0">
                  <a:pos x="55" y="128"/>
                </a:cxn>
                <a:cxn ang="0">
                  <a:pos x="61" y="127"/>
                </a:cxn>
                <a:cxn ang="0">
                  <a:pos x="85" y="74"/>
                </a:cxn>
                <a:cxn ang="0">
                  <a:pos x="105" y="70"/>
                </a:cxn>
                <a:cxn ang="0">
                  <a:pos x="111" y="78"/>
                </a:cxn>
                <a:cxn ang="0">
                  <a:pos x="167" y="64"/>
                </a:cxn>
                <a:cxn ang="0">
                  <a:pos x="167" y="59"/>
                </a:cxn>
                <a:cxn ang="0">
                  <a:pos x="133" y="45"/>
                </a:cxn>
                <a:cxn ang="0">
                  <a:pos x="136" y="47"/>
                </a:cxn>
                <a:cxn ang="0">
                  <a:pos x="115" y="60"/>
                </a:cxn>
                <a:cxn ang="0">
                  <a:pos x="113" y="61"/>
                </a:cxn>
                <a:cxn ang="0">
                  <a:pos x="133" y="45"/>
                </a:cxn>
              </a:cxnLst>
              <a:rect l="0" t="0" r="r" b="b"/>
              <a:pathLst>
                <a:path w="169" h="132">
                  <a:moveTo>
                    <a:pt x="167" y="59"/>
                  </a:moveTo>
                  <a:cubicBezTo>
                    <a:pt x="164" y="58"/>
                    <a:pt x="164" y="63"/>
                    <a:pt x="150" y="68"/>
                  </a:cubicBezTo>
                  <a:cubicBezTo>
                    <a:pt x="121" y="80"/>
                    <a:pt x="111" y="75"/>
                    <a:pt x="110" y="69"/>
                  </a:cubicBezTo>
                  <a:cubicBezTo>
                    <a:pt x="121" y="66"/>
                    <a:pt x="132" y="62"/>
                    <a:pt x="138" y="57"/>
                  </a:cubicBezTo>
                  <a:cubicBezTo>
                    <a:pt x="147" y="50"/>
                    <a:pt x="146" y="44"/>
                    <a:pt x="139" y="39"/>
                  </a:cubicBezTo>
                  <a:cubicBezTo>
                    <a:pt x="132" y="34"/>
                    <a:pt x="120" y="41"/>
                    <a:pt x="110" y="52"/>
                  </a:cubicBezTo>
                  <a:cubicBezTo>
                    <a:pt x="107" y="56"/>
                    <a:pt x="105" y="60"/>
                    <a:pt x="104" y="63"/>
                  </a:cubicBezTo>
                  <a:cubicBezTo>
                    <a:pt x="99" y="64"/>
                    <a:pt x="94" y="65"/>
                    <a:pt x="89" y="65"/>
                  </a:cubicBezTo>
                  <a:cubicBezTo>
                    <a:pt x="93" y="59"/>
                    <a:pt x="97" y="52"/>
                    <a:pt x="100" y="47"/>
                  </a:cubicBezTo>
                  <a:cubicBezTo>
                    <a:pt x="115" y="32"/>
                    <a:pt x="123" y="21"/>
                    <a:pt x="119" y="15"/>
                  </a:cubicBezTo>
                  <a:cubicBezTo>
                    <a:pt x="116" y="11"/>
                    <a:pt x="114" y="11"/>
                    <a:pt x="111" y="15"/>
                  </a:cubicBezTo>
                  <a:cubicBezTo>
                    <a:pt x="107" y="19"/>
                    <a:pt x="97" y="33"/>
                    <a:pt x="94" y="42"/>
                  </a:cubicBezTo>
                  <a:cubicBezTo>
                    <a:pt x="91" y="46"/>
                    <a:pt x="81" y="56"/>
                    <a:pt x="70" y="64"/>
                  </a:cubicBezTo>
                  <a:cubicBezTo>
                    <a:pt x="69" y="64"/>
                    <a:pt x="68" y="64"/>
                    <a:pt x="68" y="64"/>
                  </a:cubicBezTo>
                  <a:cubicBezTo>
                    <a:pt x="65" y="63"/>
                    <a:pt x="64" y="64"/>
                    <a:pt x="65" y="68"/>
                  </a:cubicBezTo>
                  <a:cubicBezTo>
                    <a:pt x="60" y="71"/>
                    <a:pt x="55" y="73"/>
                    <a:pt x="50" y="74"/>
                  </a:cubicBezTo>
                  <a:cubicBezTo>
                    <a:pt x="48" y="75"/>
                    <a:pt x="48" y="74"/>
                    <a:pt x="49" y="72"/>
                  </a:cubicBezTo>
                  <a:cubicBezTo>
                    <a:pt x="49" y="68"/>
                    <a:pt x="50" y="66"/>
                    <a:pt x="53" y="60"/>
                  </a:cubicBezTo>
                  <a:cubicBezTo>
                    <a:pt x="59" y="49"/>
                    <a:pt x="65" y="49"/>
                    <a:pt x="62" y="45"/>
                  </a:cubicBezTo>
                  <a:cubicBezTo>
                    <a:pt x="61" y="44"/>
                    <a:pt x="60" y="43"/>
                    <a:pt x="58" y="42"/>
                  </a:cubicBezTo>
                  <a:cubicBezTo>
                    <a:pt x="55" y="41"/>
                    <a:pt x="54" y="43"/>
                    <a:pt x="52" y="46"/>
                  </a:cubicBezTo>
                  <a:cubicBezTo>
                    <a:pt x="50" y="48"/>
                    <a:pt x="49" y="50"/>
                    <a:pt x="47" y="53"/>
                  </a:cubicBezTo>
                  <a:cubicBezTo>
                    <a:pt x="27" y="72"/>
                    <a:pt x="18" y="75"/>
                    <a:pt x="13" y="76"/>
                  </a:cubicBezTo>
                  <a:cubicBezTo>
                    <a:pt x="10" y="77"/>
                    <a:pt x="9" y="78"/>
                    <a:pt x="10" y="74"/>
                  </a:cubicBezTo>
                  <a:cubicBezTo>
                    <a:pt x="12" y="49"/>
                    <a:pt x="47" y="16"/>
                    <a:pt x="52" y="11"/>
                  </a:cubicBezTo>
                  <a:cubicBezTo>
                    <a:pt x="54" y="9"/>
                    <a:pt x="55" y="8"/>
                    <a:pt x="54" y="7"/>
                  </a:cubicBezTo>
                  <a:cubicBezTo>
                    <a:pt x="54" y="6"/>
                    <a:pt x="53" y="4"/>
                    <a:pt x="52" y="2"/>
                  </a:cubicBezTo>
                  <a:cubicBezTo>
                    <a:pt x="51" y="1"/>
                    <a:pt x="49" y="0"/>
                    <a:pt x="47" y="2"/>
                  </a:cubicBezTo>
                  <a:cubicBezTo>
                    <a:pt x="17" y="33"/>
                    <a:pt x="5" y="57"/>
                    <a:pt x="2" y="71"/>
                  </a:cubicBezTo>
                  <a:cubicBezTo>
                    <a:pt x="0" y="77"/>
                    <a:pt x="2" y="80"/>
                    <a:pt x="4" y="82"/>
                  </a:cubicBezTo>
                  <a:cubicBezTo>
                    <a:pt x="9" y="87"/>
                    <a:pt x="18" y="87"/>
                    <a:pt x="42" y="66"/>
                  </a:cubicBezTo>
                  <a:cubicBezTo>
                    <a:pt x="41" y="69"/>
                    <a:pt x="41" y="71"/>
                    <a:pt x="41" y="74"/>
                  </a:cubicBezTo>
                  <a:cubicBezTo>
                    <a:pt x="44" y="81"/>
                    <a:pt x="53" y="89"/>
                    <a:pt x="71" y="74"/>
                  </a:cubicBezTo>
                  <a:cubicBezTo>
                    <a:pt x="72" y="74"/>
                    <a:pt x="74" y="74"/>
                    <a:pt x="76" y="74"/>
                  </a:cubicBezTo>
                  <a:cubicBezTo>
                    <a:pt x="70" y="86"/>
                    <a:pt x="59" y="107"/>
                    <a:pt x="55" y="124"/>
                  </a:cubicBezTo>
                  <a:cubicBezTo>
                    <a:pt x="54" y="126"/>
                    <a:pt x="54" y="127"/>
                    <a:pt x="55" y="128"/>
                  </a:cubicBezTo>
                  <a:cubicBezTo>
                    <a:pt x="58" y="132"/>
                    <a:pt x="60" y="131"/>
                    <a:pt x="61" y="127"/>
                  </a:cubicBezTo>
                  <a:cubicBezTo>
                    <a:pt x="63" y="119"/>
                    <a:pt x="76" y="92"/>
                    <a:pt x="85" y="74"/>
                  </a:cubicBezTo>
                  <a:cubicBezTo>
                    <a:pt x="91" y="73"/>
                    <a:pt x="98" y="72"/>
                    <a:pt x="105" y="70"/>
                  </a:cubicBezTo>
                  <a:cubicBezTo>
                    <a:pt x="106" y="74"/>
                    <a:pt x="108" y="76"/>
                    <a:pt x="111" y="78"/>
                  </a:cubicBezTo>
                  <a:cubicBezTo>
                    <a:pt x="121" y="84"/>
                    <a:pt x="142" y="84"/>
                    <a:pt x="167" y="64"/>
                  </a:cubicBezTo>
                  <a:cubicBezTo>
                    <a:pt x="169" y="61"/>
                    <a:pt x="169" y="61"/>
                    <a:pt x="167" y="59"/>
                  </a:cubicBezTo>
                  <a:moveTo>
                    <a:pt x="133" y="45"/>
                  </a:moveTo>
                  <a:cubicBezTo>
                    <a:pt x="136" y="44"/>
                    <a:pt x="137" y="45"/>
                    <a:pt x="136" y="47"/>
                  </a:cubicBezTo>
                  <a:cubicBezTo>
                    <a:pt x="134" y="51"/>
                    <a:pt x="127" y="56"/>
                    <a:pt x="115" y="60"/>
                  </a:cubicBezTo>
                  <a:cubicBezTo>
                    <a:pt x="115" y="60"/>
                    <a:pt x="114" y="60"/>
                    <a:pt x="113" y="61"/>
                  </a:cubicBezTo>
                  <a:cubicBezTo>
                    <a:pt x="117" y="55"/>
                    <a:pt x="123" y="49"/>
                    <a:pt x="133" y="45"/>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grpSp>
          <p:nvGrpSpPr>
            <p:cNvPr id="5" name="Group 21"/>
            <p:cNvGrpSpPr/>
            <p:nvPr/>
          </p:nvGrpSpPr>
          <p:grpSpPr>
            <a:xfrm>
              <a:off x="4956175" y="2895600"/>
              <a:ext cx="1681162" cy="395288"/>
              <a:chOff x="3781425" y="5397500"/>
              <a:chExt cx="1681162" cy="395288"/>
            </a:xfrm>
          </p:grpSpPr>
          <p:sp>
            <p:nvSpPr>
              <p:cNvPr id="23" name="Freeform 16"/>
              <p:cNvSpPr>
                <a:spLocks/>
              </p:cNvSpPr>
              <p:nvPr/>
            </p:nvSpPr>
            <p:spPr bwMode="auto">
              <a:xfrm>
                <a:off x="4973638" y="5397500"/>
                <a:ext cx="58737" cy="80963"/>
              </a:xfrm>
              <a:custGeom>
                <a:avLst/>
                <a:gdLst/>
                <a:ahLst/>
                <a:cxnLst>
                  <a:cxn ang="0">
                    <a:pos x="1" y="7"/>
                  </a:cxn>
                  <a:cxn ang="0">
                    <a:pos x="3" y="1"/>
                  </a:cxn>
                  <a:cxn ang="0">
                    <a:pos x="12" y="5"/>
                  </a:cxn>
                  <a:cxn ang="0">
                    <a:pos x="11" y="17"/>
                  </a:cxn>
                  <a:cxn ang="0">
                    <a:pos x="1" y="7"/>
                  </a:cxn>
                </a:cxnLst>
                <a:rect l="0" t="0" r="r" b="b"/>
                <a:pathLst>
                  <a:path w="13" h="18">
                    <a:moveTo>
                      <a:pt x="1" y="7"/>
                    </a:moveTo>
                    <a:cubicBezTo>
                      <a:pt x="0" y="4"/>
                      <a:pt x="0" y="2"/>
                      <a:pt x="3" y="1"/>
                    </a:cubicBezTo>
                    <a:cubicBezTo>
                      <a:pt x="6" y="0"/>
                      <a:pt x="12" y="0"/>
                      <a:pt x="12" y="5"/>
                    </a:cubicBezTo>
                    <a:cubicBezTo>
                      <a:pt x="12" y="10"/>
                      <a:pt x="13" y="15"/>
                      <a:pt x="11" y="17"/>
                    </a:cubicBezTo>
                    <a:cubicBezTo>
                      <a:pt x="9" y="18"/>
                      <a:pt x="5" y="16"/>
                      <a:pt x="1" y="7"/>
                    </a:cubicBezTo>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sp>
            <p:nvSpPr>
              <p:cNvPr id="24" name="Freeform 20"/>
              <p:cNvSpPr>
                <a:spLocks noEditPoints="1"/>
              </p:cNvSpPr>
              <p:nvPr/>
            </p:nvSpPr>
            <p:spPr bwMode="auto">
              <a:xfrm>
                <a:off x="3781425" y="5407025"/>
                <a:ext cx="1681162" cy="385763"/>
              </a:xfrm>
              <a:custGeom>
                <a:avLst/>
                <a:gdLst/>
                <a:ahLst/>
                <a:cxnLst>
                  <a:cxn ang="0">
                    <a:pos x="369" y="1"/>
                  </a:cxn>
                  <a:cxn ang="0">
                    <a:pos x="338" y="41"/>
                  </a:cxn>
                  <a:cxn ang="0">
                    <a:pos x="307" y="58"/>
                  </a:cxn>
                  <a:cxn ang="0">
                    <a:pos x="313" y="46"/>
                  </a:cxn>
                  <a:cxn ang="0">
                    <a:pos x="305" y="29"/>
                  </a:cxn>
                  <a:cxn ang="0">
                    <a:pos x="253" y="64"/>
                  </a:cxn>
                  <a:cxn ang="0">
                    <a:pos x="263" y="32"/>
                  </a:cxn>
                  <a:cxn ang="0">
                    <a:pos x="233" y="31"/>
                  </a:cxn>
                  <a:cxn ang="0">
                    <a:pos x="243" y="4"/>
                  </a:cxn>
                  <a:cxn ang="0">
                    <a:pos x="234" y="11"/>
                  </a:cxn>
                  <a:cxn ang="0">
                    <a:pos x="222" y="32"/>
                  </a:cxn>
                  <a:cxn ang="0">
                    <a:pos x="205" y="29"/>
                  </a:cxn>
                  <a:cxn ang="0">
                    <a:pos x="211" y="41"/>
                  </a:cxn>
                  <a:cxn ang="0">
                    <a:pos x="177" y="61"/>
                  </a:cxn>
                  <a:cxn ang="0">
                    <a:pos x="183" y="45"/>
                  </a:cxn>
                  <a:cxn ang="0">
                    <a:pos x="175" y="42"/>
                  </a:cxn>
                  <a:cxn ang="0">
                    <a:pos x="151" y="59"/>
                  </a:cxn>
                  <a:cxn ang="0">
                    <a:pos x="163" y="39"/>
                  </a:cxn>
                  <a:cxn ang="0">
                    <a:pos x="162" y="28"/>
                  </a:cxn>
                  <a:cxn ang="0">
                    <a:pos x="109" y="64"/>
                  </a:cxn>
                  <a:cxn ang="0">
                    <a:pos x="134" y="29"/>
                  </a:cxn>
                  <a:cxn ang="0">
                    <a:pos x="123" y="23"/>
                  </a:cxn>
                  <a:cxn ang="0">
                    <a:pos x="87" y="28"/>
                  </a:cxn>
                  <a:cxn ang="0">
                    <a:pos x="94" y="12"/>
                  </a:cxn>
                  <a:cxn ang="0">
                    <a:pos x="86" y="6"/>
                  </a:cxn>
                  <a:cxn ang="0">
                    <a:pos x="69" y="28"/>
                  </a:cxn>
                  <a:cxn ang="0">
                    <a:pos x="59" y="32"/>
                  </a:cxn>
                  <a:cxn ang="0">
                    <a:pos x="45" y="35"/>
                  </a:cxn>
                  <a:cxn ang="0">
                    <a:pos x="36" y="30"/>
                  </a:cxn>
                  <a:cxn ang="0">
                    <a:pos x="30" y="33"/>
                  </a:cxn>
                  <a:cxn ang="0">
                    <a:pos x="4" y="55"/>
                  </a:cxn>
                  <a:cxn ang="0">
                    <a:pos x="20" y="70"/>
                  </a:cxn>
                  <a:cxn ang="0">
                    <a:pos x="35" y="44"/>
                  </a:cxn>
                  <a:cxn ang="0">
                    <a:pos x="65" y="39"/>
                  </a:cxn>
                  <a:cxn ang="0">
                    <a:pos x="56" y="75"/>
                  </a:cxn>
                  <a:cxn ang="0">
                    <a:pos x="75" y="39"/>
                  </a:cxn>
                  <a:cxn ang="0">
                    <a:pos x="94" y="51"/>
                  </a:cxn>
                  <a:cxn ang="0">
                    <a:pos x="141" y="55"/>
                  </a:cxn>
                  <a:cxn ang="0">
                    <a:pos x="168" y="58"/>
                  </a:cxn>
                  <a:cxn ang="0">
                    <a:pos x="216" y="43"/>
                  </a:cxn>
                  <a:cxn ang="0">
                    <a:pos x="212" y="75"/>
                  </a:cxn>
                  <a:cxn ang="0">
                    <a:pos x="247" y="36"/>
                  </a:cxn>
                  <a:cxn ang="0">
                    <a:pos x="246" y="69"/>
                  </a:cxn>
                  <a:cxn ang="0">
                    <a:pos x="269" y="64"/>
                  </a:cxn>
                  <a:cxn ang="0">
                    <a:pos x="294" y="65"/>
                  </a:cxn>
                  <a:cxn ang="0">
                    <a:pos x="331" y="58"/>
                  </a:cxn>
                  <a:cxn ang="0">
                    <a:pos x="340" y="79"/>
                  </a:cxn>
                  <a:cxn ang="0">
                    <a:pos x="368" y="14"/>
                  </a:cxn>
                  <a:cxn ang="0">
                    <a:pos x="29" y="50"/>
                  </a:cxn>
                  <a:cxn ang="0">
                    <a:pos x="11" y="61"/>
                  </a:cxn>
                  <a:cxn ang="0">
                    <a:pos x="29" y="50"/>
                  </a:cxn>
                  <a:cxn ang="0">
                    <a:pos x="124" y="37"/>
                  </a:cxn>
                  <a:cxn ang="0">
                    <a:pos x="123" y="34"/>
                  </a:cxn>
                  <a:cxn ang="0">
                    <a:pos x="302" y="48"/>
                  </a:cxn>
                  <a:cxn ang="0">
                    <a:pos x="279" y="62"/>
                  </a:cxn>
                  <a:cxn ang="0">
                    <a:pos x="305" y="42"/>
                  </a:cxn>
                  <a:cxn ang="0">
                    <a:pos x="302" y="48"/>
                  </a:cxn>
                </a:cxnLst>
                <a:rect l="0" t="0" r="r" b="b"/>
                <a:pathLst>
                  <a:path w="375" h="86">
                    <a:moveTo>
                      <a:pt x="373" y="6"/>
                    </a:moveTo>
                    <a:cubicBezTo>
                      <a:pt x="372" y="4"/>
                      <a:pt x="370" y="1"/>
                      <a:pt x="369" y="1"/>
                    </a:cubicBezTo>
                    <a:cubicBezTo>
                      <a:pt x="367" y="0"/>
                      <a:pt x="365" y="0"/>
                      <a:pt x="363" y="4"/>
                    </a:cubicBezTo>
                    <a:cubicBezTo>
                      <a:pt x="357" y="11"/>
                      <a:pt x="346" y="26"/>
                      <a:pt x="338" y="41"/>
                    </a:cubicBezTo>
                    <a:cubicBezTo>
                      <a:pt x="326" y="54"/>
                      <a:pt x="309" y="65"/>
                      <a:pt x="305" y="66"/>
                    </a:cubicBezTo>
                    <a:cubicBezTo>
                      <a:pt x="302" y="67"/>
                      <a:pt x="303" y="63"/>
                      <a:pt x="307" y="58"/>
                    </a:cubicBezTo>
                    <a:cubicBezTo>
                      <a:pt x="309" y="56"/>
                      <a:pt x="309" y="54"/>
                      <a:pt x="308" y="53"/>
                    </a:cubicBezTo>
                    <a:cubicBezTo>
                      <a:pt x="310" y="50"/>
                      <a:pt x="312" y="47"/>
                      <a:pt x="313" y="46"/>
                    </a:cubicBezTo>
                    <a:cubicBezTo>
                      <a:pt x="317" y="37"/>
                      <a:pt x="314" y="33"/>
                      <a:pt x="311" y="30"/>
                    </a:cubicBezTo>
                    <a:cubicBezTo>
                      <a:pt x="309" y="29"/>
                      <a:pt x="309" y="29"/>
                      <a:pt x="305" y="29"/>
                    </a:cubicBezTo>
                    <a:cubicBezTo>
                      <a:pt x="290" y="31"/>
                      <a:pt x="278" y="45"/>
                      <a:pt x="273" y="55"/>
                    </a:cubicBezTo>
                    <a:cubicBezTo>
                      <a:pt x="265" y="60"/>
                      <a:pt x="257" y="64"/>
                      <a:pt x="253" y="64"/>
                    </a:cubicBezTo>
                    <a:cubicBezTo>
                      <a:pt x="251" y="64"/>
                      <a:pt x="253" y="59"/>
                      <a:pt x="254" y="58"/>
                    </a:cubicBezTo>
                    <a:cubicBezTo>
                      <a:pt x="258" y="48"/>
                      <a:pt x="268" y="39"/>
                      <a:pt x="263" y="32"/>
                    </a:cubicBezTo>
                    <a:cubicBezTo>
                      <a:pt x="257" y="26"/>
                      <a:pt x="251" y="28"/>
                      <a:pt x="245" y="29"/>
                    </a:cubicBezTo>
                    <a:cubicBezTo>
                      <a:pt x="242" y="30"/>
                      <a:pt x="237" y="31"/>
                      <a:pt x="233" y="31"/>
                    </a:cubicBezTo>
                    <a:cubicBezTo>
                      <a:pt x="237" y="24"/>
                      <a:pt x="241" y="18"/>
                      <a:pt x="243" y="14"/>
                    </a:cubicBezTo>
                    <a:cubicBezTo>
                      <a:pt x="247" y="8"/>
                      <a:pt x="245" y="6"/>
                      <a:pt x="243" y="4"/>
                    </a:cubicBezTo>
                    <a:cubicBezTo>
                      <a:pt x="242" y="2"/>
                      <a:pt x="241" y="1"/>
                      <a:pt x="239" y="2"/>
                    </a:cubicBezTo>
                    <a:cubicBezTo>
                      <a:pt x="236" y="3"/>
                      <a:pt x="237" y="5"/>
                      <a:pt x="234" y="11"/>
                    </a:cubicBezTo>
                    <a:cubicBezTo>
                      <a:pt x="234" y="11"/>
                      <a:pt x="231" y="17"/>
                      <a:pt x="224" y="28"/>
                    </a:cubicBezTo>
                    <a:cubicBezTo>
                      <a:pt x="223" y="30"/>
                      <a:pt x="222" y="31"/>
                      <a:pt x="222" y="32"/>
                    </a:cubicBezTo>
                    <a:cubicBezTo>
                      <a:pt x="217" y="33"/>
                      <a:pt x="212" y="32"/>
                      <a:pt x="209" y="31"/>
                    </a:cubicBezTo>
                    <a:cubicBezTo>
                      <a:pt x="208" y="31"/>
                      <a:pt x="208" y="28"/>
                      <a:pt x="205" y="29"/>
                    </a:cubicBezTo>
                    <a:cubicBezTo>
                      <a:pt x="202" y="30"/>
                      <a:pt x="202" y="32"/>
                      <a:pt x="204" y="35"/>
                    </a:cubicBezTo>
                    <a:cubicBezTo>
                      <a:pt x="205" y="38"/>
                      <a:pt x="206" y="40"/>
                      <a:pt x="211" y="41"/>
                    </a:cubicBezTo>
                    <a:cubicBezTo>
                      <a:pt x="190" y="59"/>
                      <a:pt x="182" y="60"/>
                      <a:pt x="179" y="62"/>
                    </a:cubicBezTo>
                    <a:cubicBezTo>
                      <a:pt x="178" y="62"/>
                      <a:pt x="177" y="63"/>
                      <a:pt x="177" y="61"/>
                    </a:cubicBezTo>
                    <a:cubicBezTo>
                      <a:pt x="176" y="60"/>
                      <a:pt x="178" y="55"/>
                      <a:pt x="181" y="51"/>
                    </a:cubicBezTo>
                    <a:cubicBezTo>
                      <a:pt x="183" y="49"/>
                      <a:pt x="184" y="46"/>
                      <a:pt x="183" y="45"/>
                    </a:cubicBezTo>
                    <a:cubicBezTo>
                      <a:pt x="183" y="45"/>
                      <a:pt x="182" y="43"/>
                      <a:pt x="180" y="41"/>
                    </a:cubicBezTo>
                    <a:cubicBezTo>
                      <a:pt x="179" y="39"/>
                      <a:pt x="177" y="40"/>
                      <a:pt x="175" y="42"/>
                    </a:cubicBezTo>
                    <a:cubicBezTo>
                      <a:pt x="175" y="42"/>
                      <a:pt x="175" y="42"/>
                      <a:pt x="175" y="42"/>
                    </a:cubicBezTo>
                    <a:cubicBezTo>
                      <a:pt x="171" y="46"/>
                      <a:pt x="156" y="56"/>
                      <a:pt x="151" y="59"/>
                    </a:cubicBezTo>
                    <a:cubicBezTo>
                      <a:pt x="149" y="59"/>
                      <a:pt x="149" y="59"/>
                      <a:pt x="150" y="57"/>
                    </a:cubicBezTo>
                    <a:cubicBezTo>
                      <a:pt x="152" y="52"/>
                      <a:pt x="160" y="41"/>
                      <a:pt x="163" y="39"/>
                    </a:cubicBezTo>
                    <a:cubicBezTo>
                      <a:pt x="166" y="36"/>
                      <a:pt x="167" y="34"/>
                      <a:pt x="165" y="31"/>
                    </a:cubicBezTo>
                    <a:cubicBezTo>
                      <a:pt x="164" y="30"/>
                      <a:pt x="162" y="28"/>
                      <a:pt x="162" y="28"/>
                    </a:cubicBezTo>
                    <a:cubicBezTo>
                      <a:pt x="160" y="27"/>
                      <a:pt x="159" y="28"/>
                      <a:pt x="156" y="32"/>
                    </a:cubicBezTo>
                    <a:cubicBezTo>
                      <a:pt x="148" y="41"/>
                      <a:pt x="125" y="61"/>
                      <a:pt x="109" y="64"/>
                    </a:cubicBezTo>
                    <a:cubicBezTo>
                      <a:pt x="101" y="65"/>
                      <a:pt x="100" y="61"/>
                      <a:pt x="102" y="58"/>
                    </a:cubicBezTo>
                    <a:cubicBezTo>
                      <a:pt x="126" y="52"/>
                      <a:pt x="137" y="34"/>
                      <a:pt x="134" y="29"/>
                    </a:cubicBezTo>
                    <a:cubicBezTo>
                      <a:pt x="134" y="29"/>
                      <a:pt x="133" y="26"/>
                      <a:pt x="131" y="24"/>
                    </a:cubicBezTo>
                    <a:cubicBezTo>
                      <a:pt x="130" y="22"/>
                      <a:pt x="127" y="21"/>
                      <a:pt x="123" y="23"/>
                    </a:cubicBezTo>
                    <a:cubicBezTo>
                      <a:pt x="122" y="23"/>
                      <a:pt x="122" y="24"/>
                      <a:pt x="122" y="24"/>
                    </a:cubicBezTo>
                    <a:cubicBezTo>
                      <a:pt x="111" y="28"/>
                      <a:pt x="101" y="27"/>
                      <a:pt x="87" y="28"/>
                    </a:cubicBezTo>
                    <a:cubicBezTo>
                      <a:pt x="85" y="28"/>
                      <a:pt x="83" y="28"/>
                      <a:pt x="81" y="28"/>
                    </a:cubicBezTo>
                    <a:cubicBezTo>
                      <a:pt x="85" y="22"/>
                      <a:pt x="89" y="17"/>
                      <a:pt x="94" y="12"/>
                    </a:cubicBezTo>
                    <a:cubicBezTo>
                      <a:pt x="97" y="8"/>
                      <a:pt x="96" y="7"/>
                      <a:pt x="95" y="3"/>
                    </a:cubicBezTo>
                    <a:cubicBezTo>
                      <a:pt x="94" y="0"/>
                      <a:pt x="91" y="1"/>
                      <a:pt x="86" y="6"/>
                    </a:cubicBezTo>
                    <a:cubicBezTo>
                      <a:pt x="80" y="11"/>
                      <a:pt x="75" y="19"/>
                      <a:pt x="70" y="27"/>
                    </a:cubicBezTo>
                    <a:cubicBezTo>
                      <a:pt x="70" y="27"/>
                      <a:pt x="70" y="28"/>
                      <a:pt x="69" y="28"/>
                    </a:cubicBezTo>
                    <a:cubicBezTo>
                      <a:pt x="67" y="28"/>
                      <a:pt x="66" y="27"/>
                      <a:pt x="64" y="26"/>
                    </a:cubicBezTo>
                    <a:cubicBezTo>
                      <a:pt x="60" y="23"/>
                      <a:pt x="59" y="26"/>
                      <a:pt x="59" y="32"/>
                    </a:cubicBezTo>
                    <a:cubicBezTo>
                      <a:pt x="59" y="32"/>
                      <a:pt x="59" y="32"/>
                      <a:pt x="59" y="32"/>
                    </a:cubicBezTo>
                    <a:cubicBezTo>
                      <a:pt x="54" y="34"/>
                      <a:pt x="49" y="35"/>
                      <a:pt x="45" y="35"/>
                    </a:cubicBezTo>
                    <a:cubicBezTo>
                      <a:pt x="45" y="35"/>
                      <a:pt x="45" y="35"/>
                      <a:pt x="45" y="35"/>
                    </a:cubicBezTo>
                    <a:cubicBezTo>
                      <a:pt x="44" y="30"/>
                      <a:pt x="42" y="27"/>
                      <a:pt x="36" y="30"/>
                    </a:cubicBezTo>
                    <a:cubicBezTo>
                      <a:pt x="35" y="31"/>
                      <a:pt x="33" y="32"/>
                      <a:pt x="31" y="33"/>
                    </a:cubicBezTo>
                    <a:cubicBezTo>
                      <a:pt x="30" y="33"/>
                      <a:pt x="30" y="33"/>
                      <a:pt x="30" y="33"/>
                    </a:cubicBezTo>
                    <a:cubicBezTo>
                      <a:pt x="26" y="32"/>
                      <a:pt x="25" y="33"/>
                      <a:pt x="25" y="36"/>
                    </a:cubicBezTo>
                    <a:cubicBezTo>
                      <a:pt x="17" y="42"/>
                      <a:pt x="8" y="48"/>
                      <a:pt x="4" y="55"/>
                    </a:cubicBezTo>
                    <a:cubicBezTo>
                      <a:pt x="0" y="62"/>
                      <a:pt x="2" y="64"/>
                      <a:pt x="3" y="67"/>
                    </a:cubicBezTo>
                    <a:cubicBezTo>
                      <a:pt x="7" y="72"/>
                      <a:pt x="10" y="74"/>
                      <a:pt x="20" y="70"/>
                    </a:cubicBezTo>
                    <a:cubicBezTo>
                      <a:pt x="30" y="65"/>
                      <a:pt x="38" y="57"/>
                      <a:pt x="35" y="45"/>
                    </a:cubicBezTo>
                    <a:cubicBezTo>
                      <a:pt x="35" y="44"/>
                      <a:pt x="35" y="44"/>
                      <a:pt x="35" y="44"/>
                    </a:cubicBezTo>
                    <a:cubicBezTo>
                      <a:pt x="43" y="48"/>
                      <a:pt x="54" y="44"/>
                      <a:pt x="63" y="38"/>
                    </a:cubicBezTo>
                    <a:cubicBezTo>
                      <a:pt x="64" y="39"/>
                      <a:pt x="64" y="39"/>
                      <a:pt x="65" y="39"/>
                    </a:cubicBezTo>
                    <a:cubicBezTo>
                      <a:pt x="59" y="52"/>
                      <a:pt x="56" y="64"/>
                      <a:pt x="55" y="69"/>
                    </a:cubicBezTo>
                    <a:cubicBezTo>
                      <a:pt x="54" y="72"/>
                      <a:pt x="54" y="73"/>
                      <a:pt x="56" y="75"/>
                    </a:cubicBezTo>
                    <a:cubicBezTo>
                      <a:pt x="57" y="76"/>
                      <a:pt x="58" y="78"/>
                      <a:pt x="61" y="72"/>
                    </a:cubicBezTo>
                    <a:cubicBezTo>
                      <a:pt x="66" y="58"/>
                      <a:pt x="70" y="47"/>
                      <a:pt x="75" y="39"/>
                    </a:cubicBezTo>
                    <a:cubicBezTo>
                      <a:pt x="84" y="38"/>
                      <a:pt x="97" y="36"/>
                      <a:pt x="109" y="32"/>
                    </a:cubicBezTo>
                    <a:cubicBezTo>
                      <a:pt x="102" y="37"/>
                      <a:pt x="96" y="44"/>
                      <a:pt x="94" y="51"/>
                    </a:cubicBezTo>
                    <a:cubicBezTo>
                      <a:pt x="91" y="59"/>
                      <a:pt x="96" y="65"/>
                      <a:pt x="98" y="68"/>
                    </a:cubicBezTo>
                    <a:cubicBezTo>
                      <a:pt x="103" y="75"/>
                      <a:pt x="115" y="77"/>
                      <a:pt x="141" y="55"/>
                    </a:cubicBezTo>
                    <a:cubicBezTo>
                      <a:pt x="139" y="61"/>
                      <a:pt x="138" y="74"/>
                      <a:pt x="147" y="71"/>
                    </a:cubicBezTo>
                    <a:cubicBezTo>
                      <a:pt x="156" y="68"/>
                      <a:pt x="164" y="62"/>
                      <a:pt x="168" y="58"/>
                    </a:cubicBezTo>
                    <a:cubicBezTo>
                      <a:pt x="168" y="66"/>
                      <a:pt x="172" y="71"/>
                      <a:pt x="174" y="72"/>
                    </a:cubicBezTo>
                    <a:cubicBezTo>
                      <a:pt x="184" y="75"/>
                      <a:pt x="204" y="56"/>
                      <a:pt x="216" y="43"/>
                    </a:cubicBezTo>
                    <a:cubicBezTo>
                      <a:pt x="206" y="64"/>
                      <a:pt x="203" y="78"/>
                      <a:pt x="206" y="81"/>
                    </a:cubicBezTo>
                    <a:cubicBezTo>
                      <a:pt x="210" y="86"/>
                      <a:pt x="211" y="81"/>
                      <a:pt x="212" y="75"/>
                    </a:cubicBezTo>
                    <a:cubicBezTo>
                      <a:pt x="216" y="63"/>
                      <a:pt x="222" y="51"/>
                      <a:pt x="228" y="40"/>
                    </a:cubicBezTo>
                    <a:cubicBezTo>
                      <a:pt x="233" y="40"/>
                      <a:pt x="238" y="39"/>
                      <a:pt x="247" y="36"/>
                    </a:cubicBezTo>
                    <a:cubicBezTo>
                      <a:pt x="251" y="35"/>
                      <a:pt x="256" y="34"/>
                      <a:pt x="254" y="37"/>
                    </a:cubicBezTo>
                    <a:cubicBezTo>
                      <a:pt x="249" y="45"/>
                      <a:pt x="239" y="61"/>
                      <a:pt x="246" y="69"/>
                    </a:cubicBezTo>
                    <a:cubicBezTo>
                      <a:pt x="251" y="74"/>
                      <a:pt x="252" y="73"/>
                      <a:pt x="257" y="71"/>
                    </a:cubicBezTo>
                    <a:cubicBezTo>
                      <a:pt x="260" y="70"/>
                      <a:pt x="265" y="67"/>
                      <a:pt x="269" y="64"/>
                    </a:cubicBezTo>
                    <a:cubicBezTo>
                      <a:pt x="269" y="67"/>
                      <a:pt x="270" y="69"/>
                      <a:pt x="272" y="71"/>
                    </a:cubicBezTo>
                    <a:cubicBezTo>
                      <a:pt x="278" y="78"/>
                      <a:pt x="287" y="72"/>
                      <a:pt x="294" y="65"/>
                    </a:cubicBezTo>
                    <a:cubicBezTo>
                      <a:pt x="296" y="68"/>
                      <a:pt x="297" y="70"/>
                      <a:pt x="301" y="73"/>
                    </a:cubicBezTo>
                    <a:cubicBezTo>
                      <a:pt x="308" y="79"/>
                      <a:pt x="319" y="71"/>
                      <a:pt x="331" y="58"/>
                    </a:cubicBezTo>
                    <a:cubicBezTo>
                      <a:pt x="329" y="65"/>
                      <a:pt x="329" y="72"/>
                      <a:pt x="331" y="76"/>
                    </a:cubicBezTo>
                    <a:cubicBezTo>
                      <a:pt x="335" y="83"/>
                      <a:pt x="340" y="81"/>
                      <a:pt x="340" y="79"/>
                    </a:cubicBezTo>
                    <a:cubicBezTo>
                      <a:pt x="340" y="74"/>
                      <a:pt x="336" y="76"/>
                      <a:pt x="337" y="68"/>
                    </a:cubicBezTo>
                    <a:cubicBezTo>
                      <a:pt x="340" y="56"/>
                      <a:pt x="353" y="35"/>
                      <a:pt x="368" y="14"/>
                    </a:cubicBezTo>
                    <a:cubicBezTo>
                      <a:pt x="370" y="11"/>
                      <a:pt x="375" y="10"/>
                      <a:pt x="373" y="6"/>
                    </a:cubicBezTo>
                    <a:moveTo>
                      <a:pt x="29" y="50"/>
                    </a:moveTo>
                    <a:cubicBezTo>
                      <a:pt x="28" y="54"/>
                      <a:pt x="21" y="62"/>
                      <a:pt x="13" y="63"/>
                    </a:cubicBezTo>
                    <a:cubicBezTo>
                      <a:pt x="9" y="63"/>
                      <a:pt x="10" y="62"/>
                      <a:pt x="11" y="61"/>
                    </a:cubicBezTo>
                    <a:cubicBezTo>
                      <a:pt x="14" y="57"/>
                      <a:pt x="21" y="51"/>
                      <a:pt x="28" y="46"/>
                    </a:cubicBezTo>
                    <a:cubicBezTo>
                      <a:pt x="28" y="48"/>
                      <a:pt x="29" y="49"/>
                      <a:pt x="29" y="50"/>
                    </a:cubicBezTo>
                    <a:moveTo>
                      <a:pt x="124" y="35"/>
                    </a:moveTo>
                    <a:cubicBezTo>
                      <a:pt x="124" y="35"/>
                      <a:pt x="125" y="36"/>
                      <a:pt x="124" y="37"/>
                    </a:cubicBezTo>
                    <a:cubicBezTo>
                      <a:pt x="122" y="39"/>
                      <a:pt x="112" y="47"/>
                      <a:pt x="107" y="49"/>
                    </a:cubicBezTo>
                    <a:cubicBezTo>
                      <a:pt x="110" y="43"/>
                      <a:pt x="116" y="37"/>
                      <a:pt x="123" y="34"/>
                    </a:cubicBezTo>
                    <a:cubicBezTo>
                      <a:pt x="124" y="34"/>
                      <a:pt x="124" y="34"/>
                      <a:pt x="124" y="35"/>
                    </a:cubicBezTo>
                    <a:moveTo>
                      <a:pt x="302" y="48"/>
                    </a:moveTo>
                    <a:cubicBezTo>
                      <a:pt x="299" y="47"/>
                      <a:pt x="296" y="56"/>
                      <a:pt x="280" y="63"/>
                    </a:cubicBezTo>
                    <a:cubicBezTo>
                      <a:pt x="279" y="64"/>
                      <a:pt x="278" y="64"/>
                      <a:pt x="279" y="62"/>
                    </a:cubicBezTo>
                    <a:cubicBezTo>
                      <a:pt x="282" y="57"/>
                      <a:pt x="295" y="42"/>
                      <a:pt x="304" y="39"/>
                    </a:cubicBezTo>
                    <a:cubicBezTo>
                      <a:pt x="305" y="39"/>
                      <a:pt x="306" y="39"/>
                      <a:pt x="305" y="42"/>
                    </a:cubicBezTo>
                    <a:cubicBezTo>
                      <a:pt x="304" y="43"/>
                      <a:pt x="303" y="45"/>
                      <a:pt x="302" y="47"/>
                    </a:cubicBezTo>
                    <a:lnTo>
                      <a:pt x="302" y="48"/>
                    </a:lnTo>
                    <a:close/>
                  </a:path>
                </a:pathLst>
              </a:custGeom>
              <a:solidFill>
                <a:srgbClr val="6D8D24"/>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626469"/>
                  </a:solidFill>
                </a:endParaRPr>
              </a:p>
            </p:txBody>
          </p:sp>
        </p:grpSp>
      </p:grpSp>
      <p:sp>
        <p:nvSpPr>
          <p:cNvPr id="22" name="Footer Placeholder 3"/>
          <p:cNvSpPr>
            <a:spLocks noGrp="1"/>
          </p:cNvSpPr>
          <p:nvPr>
            <p:ph type="ftr" sz="quarter" idx="10"/>
          </p:nvPr>
        </p:nvSpPr>
        <p:spPr>
          <a:xfrm>
            <a:off x="792163" y="6457183"/>
            <a:ext cx="5753100" cy="376238"/>
          </a:xfrm>
        </p:spPr>
        <p:txBody>
          <a:bodyPr/>
          <a:lstStyle/>
          <a:p>
            <a:pPr>
              <a:defRPr/>
            </a:pPr>
            <a:r>
              <a:rPr lang="en-US" dirty="0" smtClean="0">
                <a:solidFill>
                  <a:srgbClr val="626469"/>
                </a:solidFill>
              </a:rPr>
              <a:t>Classification: PUBLIC</a:t>
            </a:r>
            <a:endParaRPr lang="en-US" dirty="0">
              <a:solidFill>
                <a:srgbClr val="626469"/>
              </a:solidFill>
            </a:endParaRPr>
          </a:p>
        </p:txBody>
      </p:sp>
    </p:spTree>
    <p:extLst>
      <p:ext uri="{BB962C8B-B14F-4D97-AF65-F5344CB8AC3E}">
        <p14:creationId xmlns:p14="http://schemas.microsoft.com/office/powerpoint/2010/main" val="172729967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leading </a:t>
            </a:r>
            <a:r>
              <a:rPr lang="en-US" dirty="0" smtClean="0"/>
              <a:t>agri-business - Broadest </a:t>
            </a:r>
            <a:r>
              <a:rPr lang="en-US" dirty="0" smtClean="0"/>
              <a:t>crop exposure in the industry</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05567357"/>
              </p:ext>
            </p:extLst>
          </p:nvPr>
        </p:nvGraphicFramePr>
        <p:xfrm>
          <a:off x="381000" y="1219200"/>
          <a:ext cx="5257800" cy="4274453"/>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7"/>
          <p:cNvGrpSpPr/>
          <p:nvPr/>
        </p:nvGrpSpPr>
        <p:grpSpPr>
          <a:xfrm>
            <a:off x="2325726" y="2665374"/>
            <a:ext cx="1371600" cy="1399238"/>
            <a:chOff x="2314575" y="2828925"/>
            <a:chExt cx="1371600" cy="1399238"/>
          </a:xfrm>
        </p:grpSpPr>
        <p:sp>
          <p:nvSpPr>
            <p:cNvPr id="6" name="Oval 5"/>
            <p:cNvSpPr/>
            <p:nvPr/>
          </p:nvSpPr>
          <p:spPr bwMode="auto">
            <a:xfrm>
              <a:off x="2314575" y="2828925"/>
              <a:ext cx="1371600" cy="1399238"/>
            </a:xfrm>
            <a:prstGeom prst="ellipse">
              <a:avLst/>
            </a:prstGeom>
            <a:solidFill>
              <a:schemeClr val="bg1">
                <a:lumMod val="85000"/>
              </a:schemeClr>
            </a:solidFill>
            <a:ln w="6350" cap="flat" cmpd="sng" algn="ctr">
              <a:noFill/>
              <a:prstDash val="solid"/>
              <a:round/>
              <a:headEnd type="none" w="sm" len="sm"/>
              <a:tailEnd type="none" w="sm" len="sm"/>
            </a:ln>
            <a:effectLst/>
          </p:spPr>
          <p:txBody>
            <a:bodyPr vert="horz" wrap="square" lIns="26120" tIns="13060" rIns="26120" bIns="13060" numCol="1" rtlCol="0" anchor="t" anchorCtr="0" compatLnSpc="1">
              <a:prstTxWarp prst="textNoShape">
                <a:avLst/>
              </a:prstTxWarp>
            </a:bodyPr>
            <a:lstStyle/>
            <a:p>
              <a:pPr defTabSz="261197" eaLnBrk="0" hangingPunct="0">
                <a:spcAft>
                  <a:spcPts val="172"/>
                </a:spcAft>
              </a:pPr>
              <a:endParaRPr lang="en-GB" sz="400" dirty="0" smtClean="0"/>
            </a:p>
          </p:txBody>
        </p:sp>
        <p:pic>
          <p:nvPicPr>
            <p:cNvPr id="7" name="Picture 6" descr="s_wm_w_s.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52675" y="3204694"/>
              <a:ext cx="1295400" cy="647700"/>
            </a:xfrm>
            <a:prstGeom prst="rect">
              <a:avLst/>
            </a:prstGeom>
          </p:spPr>
        </p:pic>
      </p:grpSp>
      <p:sp>
        <p:nvSpPr>
          <p:cNvPr id="10" name="TextBox 9"/>
          <p:cNvSpPr txBox="1"/>
          <p:nvPr/>
        </p:nvSpPr>
        <p:spPr>
          <a:xfrm rot="5087372">
            <a:off x="2060356" y="1420413"/>
            <a:ext cx="914400" cy="977462"/>
          </a:xfrm>
          <a:prstGeom prst="rect">
            <a:avLst/>
          </a:prstGeom>
          <a:noFill/>
        </p:spPr>
        <p:txBody>
          <a:bodyPr wrap="none" rtlCol="0">
            <a:normAutofit/>
          </a:bodyPr>
          <a:lstStyle/>
          <a:p>
            <a:pPr>
              <a:spcBef>
                <a:spcPts val="0"/>
              </a:spcBef>
              <a:spcAft>
                <a:spcPts val="600"/>
              </a:spcAft>
            </a:pPr>
            <a:r>
              <a:rPr lang="de-CH" sz="1200" dirty="0" smtClean="0">
                <a:solidFill>
                  <a:schemeClr val="bg1"/>
                </a:solidFill>
              </a:rPr>
              <a:t>Lawn and</a:t>
            </a:r>
          </a:p>
        </p:txBody>
      </p:sp>
      <p:sp>
        <p:nvSpPr>
          <p:cNvPr id="11" name="TextBox 10"/>
          <p:cNvSpPr txBox="1"/>
          <p:nvPr/>
        </p:nvSpPr>
        <p:spPr>
          <a:xfrm rot="2993184">
            <a:off x="1536151" y="2045055"/>
            <a:ext cx="977462" cy="457200"/>
          </a:xfrm>
          <a:prstGeom prst="rect">
            <a:avLst/>
          </a:prstGeom>
          <a:noFill/>
        </p:spPr>
        <p:txBody>
          <a:bodyPr wrap="none" rtlCol="0">
            <a:normAutofit/>
          </a:bodyPr>
          <a:lstStyle/>
          <a:p>
            <a:pPr>
              <a:spcBef>
                <a:spcPts val="0"/>
              </a:spcBef>
              <a:spcAft>
                <a:spcPts val="600"/>
              </a:spcAft>
            </a:pPr>
            <a:r>
              <a:rPr lang="de-CH" sz="1200" dirty="0" smtClean="0">
                <a:solidFill>
                  <a:schemeClr val="bg1"/>
                </a:solidFill>
              </a:rPr>
              <a:t>Vegetables</a:t>
            </a:r>
            <a:endParaRPr lang="en-US" sz="1200" dirty="0" smtClean="0">
              <a:solidFill>
                <a:schemeClr val="bg1"/>
              </a:solidFill>
            </a:endParaRPr>
          </a:p>
        </p:txBody>
      </p:sp>
      <p:cxnSp>
        <p:nvCxnSpPr>
          <p:cNvPr id="12" name="Straight Connector 11"/>
          <p:cNvCxnSpPr/>
          <p:nvPr/>
        </p:nvCxnSpPr>
        <p:spPr bwMode="auto">
          <a:xfrm rot="5400000">
            <a:off x="2441033" y="1854200"/>
            <a:ext cx="1143000" cy="0"/>
          </a:xfrm>
          <a:prstGeom prst="line">
            <a:avLst/>
          </a:prstGeom>
          <a:solidFill>
            <a:schemeClr val="accent2"/>
          </a:solidFill>
          <a:ln w="38100" cap="flat" cmpd="sng" algn="ctr">
            <a:solidFill>
              <a:schemeClr val="bg1"/>
            </a:solidFill>
            <a:prstDash val="solid"/>
            <a:round/>
            <a:headEnd type="none" w="sm" len="sm"/>
            <a:tailEnd type="none" w="sm" len="sm"/>
          </a:ln>
          <a:effectLst/>
        </p:spPr>
      </p:cxnSp>
      <p:cxnSp>
        <p:nvCxnSpPr>
          <p:cNvPr id="13" name="Straight Connector 12"/>
          <p:cNvCxnSpPr/>
          <p:nvPr/>
        </p:nvCxnSpPr>
        <p:spPr bwMode="auto">
          <a:xfrm flipH="1">
            <a:off x="3742875" y="2410227"/>
            <a:ext cx="1362525" cy="613176"/>
          </a:xfrm>
          <a:prstGeom prst="line">
            <a:avLst/>
          </a:prstGeom>
          <a:solidFill>
            <a:schemeClr val="accent2"/>
          </a:solidFill>
          <a:ln w="38100" cap="flat" cmpd="sng" algn="ctr">
            <a:solidFill>
              <a:schemeClr val="bg1"/>
            </a:solidFill>
            <a:prstDash val="solid"/>
            <a:round/>
            <a:headEnd type="none" w="sm" len="sm"/>
            <a:tailEnd type="none" w="sm" len="sm"/>
          </a:ln>
          <a:effectLst/>
        </p:spPr>
      </p:cxnSp>
      <p:cxnSp>
        <p:nvCxnSpPr>
          <p:cNvPr id="14" name="Straight Connector 13"/>
          <p:cNvCxnSpPr/>
          <p:nvPr/>
        </p:nvCxnSpPr>
        <p:spPr bwMode="auto">
          <a:xfrm flipH="1" flipV="1">
            <a:off x="3913823" y="3496655"/>
            <a:ext cx="1148150" cy="217588"/>
          </a:xfrm>
          <a:prstGeom prst="line">
            <a:avLst/>
          </a:prstGeom>
          <a:solidFill>
            <a:schemeClr val="accent2"/>
          </a:solidFill>
          <a:ln w="38100" cap="flat" cmpd="sng" algn="ctr">
            <a:solidFill>
              <a:schemeClr val="bg1"/>
            </a:solidFill>
            <a:prstDash val="solid"/>
            <a:round/>
            <a:headEnd type="none" w="sm" len="sm"/>
            <a:tailEnd type="none" w="sm" len="sm"/>
          </a:ln>
          <a:effectLst/>
        </p:spPr>
      </p:cxnSp>
      <p:cxnSp>
        <p:nvCxnSpPr>
          <p:cNvPr id="15" name="Straight Connector 14"/>
          <p:cNvCxnSpPr/>
          <p:nvPr/>
        </p:nvCxnSpPr>
        <p:spPr bwMode="auto">
          <a:xfrm flipH="1" flipV="1">
            <a:off x="3583622" y="4151607"/>
            <a:ext cx="702178" cy="963583"/>
          </a:xfrm>
          <a:prstGeom prst="line">
            <a:avLst/>
          </a:prstGeom>
          <a:solidFill>
            <a:schemeClr val="accent2"/>
          </a:solidFill>
          <a:ln w="38100" cap="flat" cmpd="sng" algn="ctr">
            <a:solidFill>
              <a:schemeClr val="bg1"/>
            </a:solidFill>
            <a:prstDash val="solid"/>
            <a:round/>
            <a:headEnd type="none" w="sm" len="sm"/>
            <a:tailEnd type="none" w="sm" len="sm"/>
          </a:ln>
          <a:effectLst/>
        </p:spPr>
      </p:cxnSp>
      <p:cxnSp>
        <p:nvCxnSpPr>
          <p:cNvPr id="16" name="Straight Connector 15"/>
          <p:cNvCxnSpPr/>
          <p:nvPr/>
        </p:nvCxnSpPr>
        <p:spPr bwMode="auto">
          <a:xfrm flipV="1">
            <a:off x="838200" y="3869112"/>
            <a:ext cx="1511300" cy="1236288"/>
          </a:xfrm>
          <a:prstGeom prst="line">
            <a:avLst/>
          </a:prstGeom>
          <a:solidFill>
            <a:schemeClr val="accent2"/>
          </a:solidFill>
          <a:ln w="38100" cap="flat" cmpd="sng" algn="ctr">
            <a:solidFill>
              <a:schemeClr val="bg1"/>
            </a:solidFill>
            <a:prstDash val="solid"/>
            <a:round/>
            <a:headEnd type="none" w="sm" len="sm"/>
            <a:tailEnd type="none" w="sm" len="sm"/>
          </a:ln>
          <a:effectLst/>
        </p:spPr>
      </p:cxnSp>
      <p:cxnSp>
        <p:nvCxnSpPr>
          <p:cNvPr id="17" name="Straight Connector 16"/>
          <p:cNvCxnSpPr/>
          <p:nvPr/>
        </p:nvCxnSpPr>
        <p:spPr bwMode="auto">
          <a:xfrm flipV="1">
            <a:off x="1257300" y="3733800"/>
            <a:ext cx="1104900" cy="673100"/>
          </a:xfrm>
          <a:prstGeom prst="line">
            <a:avLst/>
          </a:prstGeom>
          <a:solidFill>
            <a:schemeClr val="accent2"/>
          </a:solidFill>
          <a:ln w="38100" cap="flat" cmpd="sng" algn="ctr">
            <a:solidFill>
              <a:schemeClr val="bg1"/>
            </a:solidFill>
            <a:prstDash val="solid"/>
            <a:round/>
            <a:headEnd type="none" w="sm" len="sm"/>
            <a:tailEnd type="none" w="sm" len="sm"/>
          </a:ln>
          <a:effectLst/>
        </p:spPr>
      </p:cxnSp>
      <p:cxnSp>
        <p:nvCxnSpPr>
          <p:cNvPr id="18" name="Straight Connector 17"/>
          <p:cNvCxnSpPr/>
          <p:nvPr/>
        </p:nvCxnSpPr>
        <p:spPr bwMode="auto">
          <a:xfrm>
            <a:off x="1121616" y="2188678"/>
            <a:ext cx="1192959" cy="720577"/>
          </a:xfrm>
          <a:prstGeom prst="line">
            <a:avLst/>
          </a:prstGeom>
          <a:solidFill>
            <a:schemeClr val="accent2"/>
          </a:solidFill>
          <a:ln w="38100" cap="flat" cmpd="sng" algn="ctr">
            <a:solidFill>
              <a:schemeClr val="bg1"/>
            </a:solidFill>
            <a:prstDash val="solid"/>
            <a:round/>
            <a:headEnd type="none" w="sm" len="sm"/>
            <a:tailEnd type="none" w="sm" len="sm"/>
          </a:ln>
          <a:effectLst/>
        </p:spPr>
      </p:cxnSp>
      <p:cxnSp>
        <p:nvCxnSpPr>
          <p:cNvPr id="19" name="Straight Connector 18"/>
          <p:cNvCxnSpPr/>
          <p:nvPr/>
        </p:nvCxnSpPr>
        <p:spPr bwMode="auto">
          <a:xfrm>
            <a:off x="2349500" y="1219200"/>
            <a:ext cx="365125" cy="1191027"/>
          </a:xfrm>
          <a:prstGeom prst="line">
            <a:avLst/>
          </a:prstGeom>
          <a:solidFill>
            <a:schemeClr val="accent2"/>
          </a:solidFill>
          <a:ln w="38100" cap="flat" cmpd="sng" algn="ctr">
            <a:solidFill>
              <a:schemeClr val="bg1"/>
            </a:solidFill>
            <a:prstDash val="solid"/>
            <a:round/>
            <a:headEnd type="none" w="sm" len="sm"/>
            <a:tailEnd type="none" w="sm" len="sm"/>
          </a:ln>
          <a:effectLst/>
        </p:spPr>
      </p:cxnSp>
      <p:sp>
        <p:nvSpPr>
          <p:cNvPr id="20" name="TextBox 19"/>
          <p:cNvSpPr txBox="1"/>
          <p:nvPr/>
        </p:nvSpPr>
        <p:spPr>
          <a:xfrm rot="17551529">
            <a:off x="3321219" y="1583203"/>
            <a:ext cx="977462" cy="914400"/>
          </a:xfrm>
          <a:prstGeom prst="rect">
            <a:avLst/>
          </a:prstGeom>
          <a:noFill/>
        </p:spPr>
        <p:txBody>
          <a:bodyPr wrap="none" rtlCol="0">
            <a:normAutofit/>
          </a:bodyPr>
          <a:lstStyle/>
          <a:p>
            <a:pPr>
              <a:spcBef>
                <a:spcPts val="0"/>
              </a:spcBef>
              <a:spcAft>
                <a:spcPts val="0"/>
              </a:spcAft>
            </a:pPr>
            <a:r>
              <a:rPr lang="de-CH" sz="1200" dirty="0" smtClean="0">
                <a:solidFill>
                  <a:schemeClr val="bg1"/>
                </a:solidFill>
              </a:rPr>
              <a:t>Specialty</a:t>
            </a:r>
            <a:r>
              <a:rPr lang="en-US" sz="1200" dirty="0">
                <a:solidFill>
                  <a:schemeClr val="bg1"/>
                </a:solidFill>
              </a:rPr>
              <a:t> </a:t>
            </a:r>
            <a:endParaRPr lang="en-US" sz="1200" dirty="0" smtClean="0">
              <a:solidFill>
                <a:schemeClr val="bg1"/>
              </a:solidFill>
            </a:endParaRPr>
          </a:p>
          <a:p>
            <a:pPr>
              <a:spcBef>
                <a:spcPts val="0"/>
              </a:spcBef>
              <a:spcAft>
                <a:spcPts val="0"/>
              </a:spcAft>
            </a:pPr>
            <a:r>
              <a:rPr lang="en-US" sz="1200" dirty="0" smtClean="0">
                <a:solidFill>
                  <a:schemeClr val="bg1"/>
                </a:solidFill>
              </a:rPr>
              <a:t>crops</a:t>
            </a:r>
            <a:endParaRPr lang="de-CH" sz="1200" dirty="0" smtClean="0">
              <a:solidFill>
                <a:schemeClr val="bg1"/>
              </a:solidFill>
            </a:endParaRPr>
          </a:p>
        </p:txBody>
      </p:sp>
      <p:sp>
        <p:nvSpPr>
          <p:cNvPr id="21" name="TextBox 20"/>
          <p:cNvSpPr txBox="1"/>
          <p:nvPr/>
        </p:nvSpPr>
        <p:spPr>
          <a:xfrm rot="1917201">
            <a:off x="3742629" y="3992387"/>
            <a:ext cx="977462" cy="457200"/>
          </a:xfrm>
          <a:prstGeom prst="rect">
            <a:avLst/>
          </a:prstGeom>
          <a:noFill/>
        </p:spPr>
        <p:txBody>
          <a:bodyPr wrap="none" rtlCol="0">
            <a:normAutofit/>
          </a:bodyPr>
          <a:lstStyle/>
          <a:p>
            <a:pPr>
              <a:spcBef>
                <a:spcPts val="0"/>
              </a:spcBef>
              <a:spcAft>
                <a:spcPts val="600"/>
              </a:spcAft>
            </a:pPr>
            <a:r>
              <a:rPr lang="de-CH" sz="1200" dirty="0" smtClean="0">
                <a:solidFill>
                  <a:schemeClr val="bg1"/>
                </a:solidFill>
              </a:rPr>
              <a:t>Cereals</a:t>
            </a:r>
            <a:endParaRPr lang="en-US" sz="1200" dirty="0" smtClean="0">
              <a:solidFill>
                <a:schemeClr val="bg1"/>
              </a:solidFill>
            </a:endParaRPr>
          </a:p>
        </p:txBody>
      </p:sp>
      <p:sp>
        <p:nvSpPr>
          <p:cNvPr id="22" name="TextBox 21"/>
          <p:cNvSpPr txBox="1"/>
          <p:nvPr/>
        </p:nvSpPr>
        <p:spPr>
          <a:xfrm>
            <a:off x="1066800" y="3245069"/>
            <a:ext cx="914400" cy="488731"/>
          </a:xfrm>
          <a:prstGeom prst="rect">
            <a:avLst/>
          </a:prstGeom>
          <a:noFill/>
        </p:spPr>
        <p:txBody>
          <a:bodyPr wrap="none" rtlCol="0">
            <a:normAutofit/>
          </a:bodyPr>
          <a:lstStyle/>
          <a:p>
            <a:pPr>
              <a:spcBef>
                <a:spcPts val="0"/>
              </a:spcBef>
              <a:spcAft>
                <a:spcPts val="600"/>
              </a:spcAft>
            </a:pPr>
            <a:r>
              <a:rPr lang="de-CH" sz="1200" dirty="0" smtClean="0">
                <a:solidFill>
                  <a:schemeClr val="bg1"/>
                </a:solidFill>
              </a:rPr>
              <a:t>Soybean</a:t>
            </a:r>
            <a:endParaRPr lang="en-US" sz="1200" dirty="0" smtClean="0">
              <a:solidFill>
                <a:schemeClr val="bg1"/>
              </a:solidFill>
            </a:endParaRPr>
          </a:p>
        </p:txBody>
      </p:sp>
      <p:sp>
        <p:nvSpPr>
          <p:cNvPr id="23" name="TextBox 22"/>
          <p:cNvSpPr txBox="1"/>
          <p:nvPr/>
        </p:nvSpPr>
        <p:spPr>
          <a:xfrm rot="19726937">
            <a:off x="3891523" y="2388170"/>
            <a:ext cx="914400" cy="488731"/>
          </a:xfrm>
          <a:prstGeom prst="rect">
            <a:avLst/>
          </a:prstGeom>
          <a:noFill/>
        </p:spPr>
        <p:txBody>
          <a:bodyPr wrap="none" rtlCol="0">
            <a:normAutofit/>
          </a:bodyPr>
          <a:lstStyle/>
          <a:p>
            <a:pPr>
              <a:spcBef>
                <a:spcPts val="0"/>
              </a:spcBef>
              <a:spcAft>
                <a:spcPts val="600"/>
              </a:spcAft>
            </a:pPr>
            <a:r>
              <a:rPr lang="de-CH" sz="1200" dirty="0" smtClean="0">
                <a:solidFill>
                  <a:schemeClr val="bg1"/>
                </a:solidFill>
              </a:rPr>
              <a:t>Rice</a:t>
            </a:r>
            <a:endParaRPr lang="en-US" sz="1200" dirty="0" smtClean="0">
              <a:solidFill>
                <a:schemeClr val="bg1"/>
              </a:solidFill>
            </a:endParaRPr>
          </a:p>
        </p:txBody>
      </p:sp>
      <p:sp>
        <p:nvSpPr>
          <p:cNvPr id="24" name="TextBox 23"/>
          <p:cNvSpPr txBox="1"/>
          <p:nvPr/>
        </p:nvSpPr>
        <p:spPr>
          <a:xfrm rot="19573628">
            <a:off x="1353163" y="4062028"/>
            <a:ext cx="911217" cy="457200"/>
          </a:xfrm>
          <a:prstGeom prst="rect">
            <a:avLst/>
          </a:prstGeom>
          <a:noFill/>
        </p:spPr>
        <p:txBody>
          <a:bodyPr wrap="none" rtlCol="0">
            <a:normAutofit/>
          </a:bodyPr>
          <a:lstStyle/>
          <a:p>
            <a:pPr>
              <a:spcBef>
                <a:spcPts val="0"/>
              </a:spcBef>
              <a:spcAft>
                <a:spcPts val="600"/>
              </a:spcAft>
            </a:pPr>
            <a:r>
              <a:rPr lang="de-CH" sz="1100" dirty="0" smtClean="0">
                <a:solidFill>
                  <a:schemeClr val="bg1"/>
                </a:solidFill>
              </a:rPr>
              <a:t>Sugar cane</a:t>
            </a:r>
            <a:endParaRPr lang="en-US" sz="1100" dirty="0" smtClean="0">
              <a:solidFill>
                <a:schemeClr val="bg1"/>
              </a:solidFill>
            </a:endParaRPr>
          </a:p>
        </p:txBody>
      </p:sp>
      <p:sp>
        <p:nvSpPr>
          <p:cNvPr id="26" name="TextBox 25"/>
          <p:cNvSpPr txBox="1"/>
          <p:nvPr/>
        </p:nvSpPr>
        <p:spPr>
          <a:xfrm rot="4995583">
            <a:off x="2218541" y="1792646"/>
            <a:ext cx="914400" cy="343152"/>
          </a:xfrm>
          <a:prstGeom prst="rect">
            <a:avLst/>
          </a:prstGeom>
          <a:noFill/>
        </p:spPr>
        <p:txBody>
          <a:bodyPr wrap="none" rtlCol="0">
            <a:normAutofit lnSpcReduction="10000"/>
          </a:bodyPr>
          <a:lstStyle/>
          <a:p>
            <a:pPr>
              <a:spcBef>
                <a:spcPts val="0"/>
              </a:spcBef>
              <a:spcAft>
                <a:spcPts val="600"/>
              </a:spcAft>
            </a:pPr>
            <a:r>
              <a:rPr lang="de-CH" sz="1200" dirty="0">
                <a:solidFill>
                  <a:schemeClr val="bg1"/>
                </a:solidFill>
              </a:rPr>
              <a:t>G</a:t>
            </a:r>
            <a:r>
              <a:rPr lang="de-CH" sz="1200" dirty="0" smtClean="0">
                <a:solidFill>
                  <a:schemeClr val="bg1"/>
                </a:solidFill>
              </a:rPr>
              <a:t>arden</a:t>
            </a:r>
            <a:endParaRPr lang="en-US" sz="1200" dirty="0" smtClean="0">
              <a:solidFill>
                <a:schemeClr val="bg1"/>
              </a:solidFill>
            </a:endParaRPr>
          </a:p>
          <a:p>
            <a:pPr>
              <a:spcBef>
                <a:spcPts val="0"/>
              </a:spcBef>
              <a:spcAft>
                <a:spcPts val="600"/>
              </a:spcAft>
            </a:pPr>
            <a:endParaRPr lang="en-US" sz="2000" dirty="0" smtClean="0"/>
          </a:p>
        </p:txBody>
      </p:sp>
      <p:sp>
        <p:nvSpPr>
          <p:cNvPr id="27" name="TextBox 26"/>
          <p:cNvSpPr txBox="1"/>
          <p:nvPr/>
        </p:nvSpPr>
        <p:spPr>
          <a:xfrm rot="21271376">
            <a:off x="3970124" y="2958945"/>
            <a:ext cx="1055798" cy="305536"/>
          </a:xfrm>
          <a:prstGeom prst="rect">
            <a:avLst/>
          </a:prstGeom>
          <a:noFill/>
        </p:spPr>
        <p:txBody>
          <a:bodyPr wrap="none" rtlCol="0">
            <a:noAutofit/>
          </a:bodyPr>
          <a:lstStyle/>
          <a:p>
            <a:pPr>
              <a:spcBef>
                <a:spcPts val="0"/>
              </a:spcBef>
              <a:spcAft>
                <a:spcPts val="600"/>
              </a:spcAft>
            </a:pPr>
            <a:r>
              <a:rPr lang="de-CH" sz="1200" dirty="0" smtClean="0">
                <a:solidFill>
                  <a:schemeClr val="bg1"/>
                </a:solidFill>
              </a:rPr>
              <a:t>Diverse field</a:t>
            </a:r>
          </a:p>
        </p:txBody>
      </p:sp>
      <p:sp>
        <p:nvSpPr>
          <p:cNvPr id="40" name="TextBox 39"/>
          <p:cNvSpPr txBox="1"/>
          <p:nvPr/>
        </p:nvSpPr>
        <p:spPr>
          <a:xfrm rot="16723138">
            <a:off x="2349024" y="4580221"/>
            <a:ext cx="914400" cy="488731"/>
          </a:xfrm>
          <a:prstGeom prst="rect">
            <a:avLst/>
          </a:prstGeom>
          <a:noFill/>
        </p:spPr>
        <p:txBody>
          <a:bodyPr wrap="none" rtlCol="0" anchor="ctr">
            <a:normAutofit/>
          </a:bodyPr>
          <a:lstStyle/>
          <a:p>
            <a:pPr algn="ctr">
              <a:spcBef>
                <a:spcPts val="0"/>
              </a:spcBef>
              <a:spcAft>
                <a:spcPts val="0"/>
              </a:spcAft>
            </a:pPr>
            <a:r>
              <a:rPr lang="de-CH" sz="1200" dirty="0" smtClean="0">
                <a:solidFill>
                  <a:schemeClr val="bg1"/>
                </a:solidFill>
              </a:rPr>
              <a:t>Corn</a:t>
            </a:r>
          </a:p>
        </p:txBody>
      </p:sp>
      <p:cxnSp>
        <p:nvCxnSpPr>
          <p:cNvPr id="45" name="Straight Connector 44"/>
          <p:cNvCxnSpPr/>
          <p:nvPr/>
        </p:nvCxnSpPr>
        <p:spPr bwMode="auto">
          <a:xfrm flipV="1">
            <a:off x="3676201" y="1752600"/>
            <a:ext cx="1219199" cy="1025912"/>
          </a:xfrm>
          <a:prstGeom prst="line">
            <a:avLst/>
          </a:prstGeom>
          <a:solidFill>
            <a:schemeClr val="accent2"/>
          </a:solidFill>
          <a:ln w="38100" cap="flat" cmpd="sng" algn="ctr">
            <a:solidFill>
              <a:schemeClr val="bg1"/>
            </a:solidFill>
            <a:prstDash val="solid"/>
            <a:round/>
            <a:headEnd type="none" w="sm" len="sm"/>
            <a:tailEnd type="none" w="sm" len="sm"/>
          </a:ln>
          <a:effectLst/>
        </p:spPr>
      </p:cxnSp>
      <p:sp>
        <p:nvSpPr>
          <p:cNvPr id="53" name="TextBox 52"/>
          <p:cNvSpPr txBox="1"/>
          <p:nvPr/>
        </p:nvSpPr>
        <p:spPr>
          <a:xfrm>
            <a:off x="4826000" y="1883878"/>
            <a:ext cx="990600" cy="609600"/>
          </a:xfrm>
          <a:prstGeom prst="rect">
            <a:avLst/>
          </a:prstGeom>
          <a:noFill/>
        </p:spPr>
        <p:txBody>
          <a:bodyPr wrap="square" rtlCol="0">
            <a:normAutofit/>
          </a:bodyPr>
          <a:lstStyle/>
          <a:p>
            <a:pPr>
              <a:lnSpc>
                <a:spcPct val="110000"/>
              </a:lnSpc>
              <a:spcBef>
                <a:spcPts val="0"/>
              </a:spcBef>
              <a:spcAft>
                <a:spcPts val="0"/>
              </a:spcAft>
            </a:pPr>
            <a:r>
              <a:rPr lang="de-CH" sz="1400" b="1" dirty="0" smtClean="0">
                <a:solidFill>
                  <a:schemeClr val="accent3"/>
                </a:solidFill>
              </a:rPr>
              <a:t>+16%</a:t>
            </a:r>
          </a:p>
          <a:p>
            <a:pPr>
              <a:lnSpc>
                <a:spcPct val="110000"/>
              </a:lnSpc>
              <a:spcBef>
                <a:spcPts val="0"/>
              </a:spcBef>
              <a:spcAft>
                <a:spcPts val="0"/>
              </a:spcAft>
            </a:pPr>
            <a:r>
              <a:rPr lang="de-CH" sz="1400" dirty="0" smtClean="0">
                <a:solidFill>
                  <a:schemeClr val="accent3"/>
                </a:solidFill>
              </a:rPr>
              <a:t>$0.7bn</a:t>
            </a:r>
            <a:endParaRPr lang="en-US" sz="1400" dirty="0" smtClean="0">
              <a:solidFill>
                <a:schemeClr val="accent3"/>
              </a:solidFill>
            </a:endParaRPr>
          </a:p>
        </p:txBody>
      </p:sp>
      <p:sp>
        <p:nvSpPr>
          <p:cNvPr id="54" name="TextBox 53"/>
          <p:cNvSpPr txBox="1"/>
          <p:nvPr/>
        </p:nvSpPr>
        <p:spPr>
          <a:xfrm>
            <a:off x="3886200" y="1066800"/>
            <a:ext cx="1219200" cy="685800"/>
          </a:xfrm>
          <a:prstGeom prst="rect">
            <a:avLst/>
          </a:prstGeom>
          <a:noFill/>
        </p:spPr>
        <p:txBody>
          <a:bodyPr wrap="square" rtlCol="0">
            <a:normAutofit/>
          </a:bodyPr>
          <a:lstStyle/>
          <a:p>
            <a:pPr>
              <a:spcBef>
                <a:spcPts val="0"/>
              </a:spcBef>
              <a:spcAft>
                <a:spcPts val="0"/>
              </a:spcAft>
            </a:pPr>
            <a:r>
              <a:rPr lang="de-CH" sz="1400" b="1" dirty="0" smtClean="0">
                <a:solidFill>
                  <a:srgbClr val="AAB400"/>
                </a:solidFill>
              </a:rPr>
              <a:t>-1%</a:t>
            </a:r>
          </a:p>
          <a:p>
            <a:pPr>
              <a:spcBef>
                <a:spcPts val="0"/>
              </a:spcBef>
              <a:spcAft>
                <a:spcPts val="0"/>
              </a:spcAft>
            </a:pPr>
            <a:r>
              <a:rPr lang="de-CH" sz="1400" dirty="0" smtClean="0">
                <a:solidFill>
                  <a:srgbClr val="AAB400"/>
                </a:solidFill>
              </a:rPr>
              <a:t>$2.0bn</a:t>
            </a:r>
            <a:endParaRPr lang="en-US" sz="1400" dirty="0" smtClean="0">
              <a:solidFill>
                <a:srgbClr val="AAB400"/>
              </a:solidFill>
            </a:endParaRPr>
          </a:p>
        </p:txBody>
      </p:sp>
      <p:sp>
        <p:nvSpPr>
          <p:cNvPr id="55" name="TextBox 54"/>
          <p:cNvSpPr txBox="1"/>
          <p:nvPr/>
        </p:nvSpPr>
        <p:spPr>
          <a:xfrm>
            <a:off x="2209800" y="778040"/>
            <a:ext cx="990600" cy="609600"/>
          </a:xfrm>
          <a:prstGeom prst="rect">
            <a:avLst/>
          </a:prstGeom>
          <a:noFill/>
        </p:spPr>
        <p:txBody>
          <a:bodyPr wrap="square" rtlCol="0">
            <a:normAutofit/>
          </a:bodyPr>
          <a:lstStyle/>
          <a:p>
            <a:pPr>
              <a:lnSpc>
                <a:spcPct val="110000"/>
              </a:lnSpc>
              <a:spcBef>
                <a:spcPts val="0"/>
              </a:spcBef>
              <a:spcAft>
                <a:spcPts val="0"/>
              </a:spcAft>
            </a:pPr>
            <a:r>
              <a:rPr lang="de-CH" sz="1400" b="1" dirty="0" smtClean="0">
                <a:solidFill>
                  <a:schemeClr val="accent4"/>
                </a:solidFill>
              </a:rPr>
              <a:t>-7%</a:t>
            </a:r>
            <a:endParaRPr lang="en-US" sz="1400" b="1" dirty="0" smtClean="0">
              <a:solidFill>
                <a:schemeClr val="accent4"/>
              </a:solidFill>
            </a:endParaRPr>
          </a:p>
          <a:p>
            <a:pPr>
              <a:lnSpc>
                <a:spcPct val="110000"/>
              </a:lnSpc>
              <a:spcBef>
                <a:spcPts val="0"/>
              </a:spcBef>
              <a:spcAft>
                <a:spcPts val="0"/>
              </a:spcAft>
            </a:pPr>
            <a:r>
              <a:rPr lang="de-CH" sz="1400" dirty="0" smtClean="0">
                <a:solidFill>
                  <a:schemeClr val="accent4"/>
                </a:solidFill>
              </a:rPr>
              <a:t>$0.7bn</a:t>
            </a:r>
          </a:p>
        </p:txBody>
      </p:sp>
      <p:sp>
        <p:nvSpPr>
          <p:cNvPr id="57" name="TextBox 56"/>
          <p:cNvSpPr txBox="1"/>
          <p:nvPr/>
        </p:nvSpPr>
        <p:spPr>
          <a:xfrm>
            <a:off x="838200" y="1447800"/>
            <a:ext cx="990600" cy="609600"/>
          </a:xfrm>
          <a:prstGeom prst="rect">
            <a:avLst/>
          </a:prstGeom>
          <a:noFill/>
        </p:spPr>
        <p:txBody>
          <a:bodyPr wrap="square" rtlCol="0">
            <a:noAutofit/>
          </a:bodyPr>
          <a:lstStyle/>
          <a:p>
            <a:pPr>
              <a:spcBef>
                <a:spcPts val="0"/>
              </a:spcBef>
              <a:spcAft>
                <a:spcPts val="0"/>
              </a:spcAft>
            </a:pPr>
            <a:r>
              <a:rPr lang="de-CH" sz="1400" b="1" dirty="0" smtClean="0">
                <a:solidFill>
                  <a:schemeClr val="accent5"/>
                </a:solidFill>
              </a:rPr>
              <a:t>+4%</a:t>
            </a:r>
          </a:p>
          <a:p>
            <a:pPr>
              <a:spcBef>
                <a:spcPts val="0"/>
              </a:spcBef>
              <a:spcAft>
                <a:spcPts val="0"/>
              </a:spcAft>
            </a:pPr>
            <a:r>
              <a:rPr lang="de-CH" sz="1400" dirty="0" smtClean="0">
                <a:solidFill>
                  <a:schemeClr val="accent5"/>
                </a:solidFill>
              </a:rPr>
              <a:t>$1.7bn</a:t>
            </a:r>
            <a:endParaRPr lang="en-US" sz="1400" dirty="0" smtClean="0">
              <a:solidFill>
                <a:schemeClr val="accent5"/>
              </a:solidFill>
            </a:endParaRPr>
          </a:p>
        </p:txBody>
      </p:sp>
      <p:sp>
        <p:nvSpPr>
          <p:cNvPr id="58" name="TextBox 57"/>
          <p:cNvSpPr txBox="1"/>
          <p:nvPr/>
        </p:nvSpPr>
        <p:spPr>
          <a:xfrm>
            <a:off x="252664" y="3124200"/>
            <a:ext cx="990600" cy="609600"/>
          </a:xfrm>
          <a:prstGeom prst="rect">
            <a:avLst/>
          </a:prstGeom>
          <a:noFill/>
        </p:spPr>
        <p:txBody>
          <a:bodyPr wrap="square" rtlCol="0">
            <a:normAutofit/>
          </a:bodyPr>
          <a:lstStyle/>
          <a:p>
            <a:pPr>
              <a:lnSpc>
                <a:spcPct val="110000"/>
              </a:lnSpc>
              <a:spcBef>
                <a:spcPts val="0"/>
              </a:spcBef>
              <a:spcAft>
                <a:spcPts val="0"/>
              </a:spcAft>
            </a:pPr>
            <a:r>
              <a:rPr lang="de-CH" sz="1400" b="1" dirty="0" smtClean="0">
                <a:solidFill>
                  <a:schemeClr val="tx2"/>
                </a:solidFill>
              </a:rPr>
              <a:t>+11%</a:t>
            </a:r>
          </a:p>
          <a:p>
            <a:pPr>
              <a:lnSpc>
                <a:spcPct val="110000"/>
              </a:lnSpc>
              <a:spcBef>
                <a:spcPts val="0"/>
              </a:spcBef>
              <a:spcAft>
                <a:spcPts val="0"/>
              </a:spcAft>
            </a:pPr>
            <a:r>
              <a:rPr lang="de-CH" sz="1400" dirty="0" smtClean="0">
                <a:solidFill>
                  <a:schemeClr val="tx2"/>
                </a:solidFill>
              </a:rPr>
              <a:t>$2.6bn</a:t>
            </a:r>
            <a:endParaRPr lang="en-US" sz="1400" dirty="0" smtClean="0">
              <a:solidFill>
                <a:schemeClr val="tx2"/>
              </a:solidFill>
            </a:endParaRPr>
          </a:p>
        </p:txBody>
      </p:sp>
      <p:sp>
        <p:nvSpPr>
          <p:cNvPr id="59" name="TextBox 58"/>
          <p:cNvSpPr txBox="1"/>
          <p:nvPr/>
        </p:nvSpPr>
        <p:spPr>
          <a:xfrm>
            <a:off x="626316" y="4342107"/>
            <a:ext cx="990600" cy="609600"/>
          </a:xfrm>
          <a:prstGeom prst="rect">
            <a:avLst/>
          </a:prstGeom>
          <a:noFill/>
        </p:spPr>
        <p:txBody>
          <a:bodyPr wrap="square" rtlCol="0">
            <a:normAutofit/>
          </a:bodyPr>
          <a:lstStyle/>
          <a:p>
            <a:pPr>
              <a:spcBef>
                <a:spcPts val="0"/>
              </a:spcBef>
              <a:spcAft>
                <a:spcPts val="0"/>
              </a:spcAft>
            </a:pPr>
            <a:r>
              <a:rPr lang="de-CH" sz="1400" b="1" dirty="0" smtClean="0"/>
              <a:t>+15%</a:t>
            </a:r>
          </a:p>
          <a:p>
            <a:pPr>
              <a:spcBef>
                <a:spcPts val="0"/>
              </a:spcBef>
              <a:spcAft>
                <a:spcPts val="0"/>
              </a:spcAft>
            </a:pPr>
            <a:r>
              <a:rPr lang="de-CH" sz="1400" dirty="0" smtClean="0"/>
              <a:t>$0.3bn</a:t>
            </a:r>
            <a:endParaRPr lang="en-US" sz="1400" dirty="0" smtClean="0"/>
          </a:p>
        </p:txBody>
      </p:sp>
      <p:sp>
        <p:nvSpPr>
          <p:cNvPr id="61" name="TextBox 60"/>
          <p:cNvSpPr txBox="1"/>
          <p:nvPr/>
        </p:nvSpPr>
        <p:spPr>
          <a:xfrm>
            <a:off x="5076698" y="2784810"/>
            <a:ext cx="990600" cy="609600"/>
          </a:xfrm>
          <a:prstGeom prst="rect">
            <a:avLst/>
          </a:prstGeom>
          <a:noFill/>
        </p:spPr>
        <p:txBody>
          <a:bodyPr wrap="square" rtlCol="0">
            <a:normAutofit/>
          </a:bodyPr>
          <a:lstStyle/>
          <a:p>
            <a:pPr>
              <a:lnSpc>
                <a:spcPct val="110000"/>
              </a:lnSpc>
              <a:spcBef>
                <a:spcPts val="0"/>
              </a:spcBef>
              <a:spcAft>
                <a:spcPts val="0"/>
              </a:spcAft>
            </a:pPr>
            <a:r>
              <a:rPr lang="de-CH" sz="1400" b="1" dirty="0" smtClean="0">
                <a:solidFill>
                  <a:schemeClr val="accent4"/>
                </a:solidFill>
              </a:rPr>
              <a:t>+11%</a:t>
            </a:r>
          </a:p>
          <a:p>
            <a:pPr>
              <a:lnSpc>
                <a:spcPct val="110000"/>
              </a:lnSpc>
              <a:spcBef>
                <a:spcPts val="0"/>
              </a:spcBef>
              <a:spcAft>
                <a:spcPts val="0"/>
              </a:spcAft>
            </a:pPr>
            <a:r>
              <a:rPr lang="de-CH" sz="1400" dirty="0" smtClean="0">
                <a:solidFill>
                  <a:schemeClr val="accent4"/>
                </a:solidFill>
              </a:rPr>
              <a:t>$1.4bn</a:t>
            </a:r>
            <a:endParaRPr lang="en-US" sz="1400" dirty="0" smtClean="0">
              <a:solidFill>
                <a:schemeClr val="accent4"/>
              </a:solidFill>
            </a:endParaRPr>
          </a:p>
        </p:txBody>
      </p:sp>
      <p:sp>
        <p:nvSpPr>
          <p:cNvPr id="62" name="TextBox 61"/>
          <p:cNvSpPr txBox="1"/>
          <p:nvPr/>
        </p:nvSpPr>
        <p:spPr>
          <a:xfrm>
            <a:off x="1676400" y="5105400"/>
            <a:ext cx="990600" cy="609600"/>
          </a:xfrm>
          <a:prstGeom prst="rect">
            <a:avLst/>
          </a:prstGeom>
          <a:noFill/>
        </p:spPr>
        <p:txBody>
          <a:bodyPr wrap="square" rtlCol="0">
            <a:normAutofit/>
          </a:bodyPr>
          <a:lstStyle/>
          <a:p>
            <a:pPr>
              <a:lnSpc>
                <a:spcPct val="110000"/>
              </a:lnSpc>
              <a:spcBef>
                <a:spcPts val="0"/>
              </a:spcBef>
              <a:spcAft>
                <a:spcPts val="0"/>
              </a:spcAft>
            </a:pPr>
            <a:r>
              <a:rPr lang="de-CH" sz="1400" b="1" dirty="0">
                <a:solidFill>
                  <a:schemeClr val="accent1">
                    <a:lumMod val="75000"/>
                  </a:schemeClr>
                </a:solidFill>
              </a:rPr>
              <a:t>0</a:t>
            </a:r>
            <a:r>
              <a:rPr lang="de-CH" sz="1400" b="1" dirty="0" smtClean="0">
                <a:solidFill>
                  <a:schemeClr val="accent1">
                    <a:lumMod val="75000"/>
                  </a:schemeClr>
                </a:solidFill>
              </a:rPr>
              <a:t>%</a:t>
            </a:r>
          </a:p>
          <a:p>
            <a:pPr>
              <a:lnSpc>
                <a:spcPct val="110000"/>
              </a:lnSpc>
              <a:spcBef>
                <a:spcPts val="0"/>
              </a:spcBef>
              <a:spcAft>
                <a:spcPts val="0"/>
              </a:spcAft>
            </a:pPr>
            <a:r>
              <a:rPr lang="de-CH" sz="1400" dirty="0" smtClean="0">
                <a:solidFill>
                  <a:schemeClr val="accent1">
                    <a:lumMod val="75000"/>
                  </a:schemeClr>
                </a:solidFill>
              </a:rPr>
              <a:t>$3.6bn</a:t>
            </a:r>
            <a:endParaRPr lang="en-US" sz="1400" dirty="0" smtClean="0">
              <a:solidFill>
                <a:schemeClr val="accent1">
                  <a:lumMod val="75000"/>
                </a:schemeClr>
              </a:solidFill>
            </a:endParaRPr>
          </a:p>
        </p:txBody>
      </p:sp>
      <p:sp>
        <p:nvSpPr>
          <p:cNvPr id="63" name="TextBox 62"/>
          <p:cNvSpPr txBox="1"/>
          <p:nvPr/>
        </p:nvSpPr>
        <p:spPr>
          <a:xfrm>
            <a:off x="4724400" y="4331802"/>
            <a:ext cx="990600" cy="609600"/>
          </a:xfrm>
          <a:prstGeom prst="rect">
            <a:avLst/>
          </a:prstGeom>
          <a:noFill/>
        </p:spPr>
        <p:txBody>
          <a:bodyPr wrap="square" rtlCol="0">
            <a:normAutofit/>
          </a:bodyPr>
          <a:lstStyle/>
          <a:p>
            <a:pPr>
              <a:lnSpc>
                <a:spcPct val="110000"/>
              </a:lnSpc>
              <a:spcBef>
                <a:spcPts val="0"/>
              </a:spcBef>
              <a:spcAft>
                <a:spcPts val="0"/>
              </a:spcAft>
            </a:pPr>
            <a:r>
              <a:rPr lang="de-CH" sz="1400" b="1" dirty="0" smtClean="0">
                <a:solidFill>
                  <a:schemeClr val="accent5"/>
                </a:solidFill>
              </a:rPr>
              <a:t>+12%</a:t>
            </a:r>
          </a:p>
          <a:p>
            <a:pPr>
              <a:lnSpc>
                <a:spcPct val="110000"/>
              </a:lnSpc>
              <a:spcBef>
                <a:spcPts val="0"/>
              </a:spcBef>
              <a:spcAft>
                <a:spcPts val="0"/>
              </a:spcAft>
            </a:pPr>
            <a:r>
              <a:rPr lang="de-CH" sz="1400" dirty="0" smtClean="0">
                <a:solidFill>
                  <a:schemeClr val="accent5"/>
                </a:solidFill>
              </a:rPr>
              <a:t>$1.8bn</a:t>
            </a:r>
            <a:endParaRPr lang="en-US" sz="1400" dirty="0" smtClean="0">
              <a:solidFill>
                <a:schemeClr val="accent5"/>
              </a:solidFill>
            </a:endParaRPr>
          </a:p>
        </p:txBody>
      </p:sp>
      <p:sp>
        <p:nvSpPr>
          <p:cNvPr id="97" name="TextBox 96"/>
          <p:cNvSpPr txBox="1"/>
          <p:nvPr/>
        </p:nvSpPr>
        <p:spPr>
          <a:xfrm rot="21368776">
            <a:off x="4005333" y="3121235"/>
            <a:ext cx="1055798" cy="305536"/>
          </a:xfrm>
          <a:prstGeom prst="rect">
            <a:avLst/>
          </a:prstGeom>
          <a:noFill/>
        </p:spPr>
        <p:txBody>
          <a:bodyPr wrap="none" rtlCol="0">
            <a:noAutofit/>
          </a:bodyPr>
          <a:lstStyle/>
          <a:p>
            <a:pPr>
              <a:spcBef>
                <a:spcPts val="0"/>
              </a:spcBef>
              <a:spcAft>
                <a:spcPts val="600"/>
              </a:spcAft>
            </a:pPr>
            <a:r>
              <a:rPr lang="de-CH" sz="1200" dirty="0">
                <a:solidFill>
                  <a:schemeClr val="bg1"/>
                </a:solidFill>
              </a:rPr>
              <a:t>c</a:t>
            </a:r>
            <a:r>
              <a:rPr lang="de-CH" sz="1200" dirty="0" smtClean="0">
                <a:solidFill>
                  <a:schemeClr val="bg1"/>
                </a:solidFill>
              </a:rPr>
              <a:t>rops</a:t>
            </a:r>
          </a:p>
        </p:txBody>
      </p:sp>
      <p:sp>
        <p:nvSpPr>
          <p:cNvPr id="49" name="Title 4"/>
          <p:cNvSpPr txBox="1">
            <a:spLocks/>
          </p:cNvSpPr>
          <p:nvPr/>
        </p:nvSpPr>
        <p:spPr bwMode="auto">
          <a:xfrm>
            <a:off x="381000" y="5765800"/>
            <a:ext cx="6324600" cy="48936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6030757" rtl="0" eaLnBrk="1" fontAlgn="base" hangingPunct="1">
              <a:lnSpc>
                <a:spcPct val="90000"/>
              </a:lnSpc>
              <a:spcBef>
                <a:spcPct val="0"/>
              </a:spcBef>
              <a:spcAft>
                <a:spcPct val="0"/>
              </a:spcAft>
              <a:defRPr sz="23000" b="0">
                <a:solidFill>
                  <a:schemeClr val="accent5"/>
                </a:solidFill>
                <a:latin typeface="+mn-lt"/>
                <a:ea typeface="+mj-ea"/>
                <a:cs typeface="+mj-cs"/>
              </a:defRPr>
            </a:lvl1pPr>
            <a:lvl2pPr algn="l" defTabSz="6030757" rtl="0" eaLnBrk="1" fontAlgn="base" hangingPunct="1">
              <a:lnSpc>
                <a:spcPct val="90000"/>
              </a:lnSpc>
              <a:spcBef>
                <a:spcPct val="0"/>
              </a:spcBef>
              <a:spcAft>
                <a:spcPct val="0"/>
              </a:spcAft>
              <a:defRPr sz="13900" b="1">
                <a:solidFill>
                  <a:schemeClr val="tx2"/>
                </a:solidFill>
                <a:latin typeface="Arial" charset="0"/>
              </a:defRPr>
            </a:lvl2pPr>
            <a:lvl3pPr algn="l" defTabSz="6030757" rtl="0" eaLnBrk="1" fontAlgn="base" hangingPunct="1">
              <a:lnSpc>
                <a:spcPct val="90000"/>
              </a:lnSpc>
              <a:spcBef>
                <a:spcPct val="0"/>
              </a:spcBef>
              <a:spcAft>
                <a:spcPct val="0"/>
              </a:spcAft>
              <a:defRPr sz="13900" b="1">
                <a:solidFill>
                  <a:schemeClr val="tx2"/>
                </a:solidFill>
                <a:latin typeface="Arial" charset="0"/>
              </a:defRPr>
            </a:lvl3pPr>
            <a:lvl4pPr algn="l" defTabSz="6030757" rtl="0" eaLnBrk="1" fontAlgn="base" hangingPunct="1">
              <a:lnSpc>
                <a:spcPct val="90000"/>
              </a:lnSpc>
              <a:spcBef>
                <a:spcPct val="0"/>
              </a:spcBef>
              <a:spcAft>
                <a:spcPct val="0"/>
              </a:spcAft>
              <a:defRPr sz="13900" b="1">
                <a:solidFill>
                  <a:schemeClr val="tx2"/>
                </a:solidFill>
                <a:latin typeface="Arial" charset="0"/>
              </a:defRPr>
            </a:lvl4pPr>
            <a:lvl5pPr algn="l" defTabSz="6030757" rtl="0" eaLnBrk="1" fontAlgn="base" hangingPunct="1">
              <a:lnSpc>
                <a:spcPct val="90000"/>
              </a:lnSpc>
              <a:spcBef>
                <a:spcPct val="0"/>
              </a:spcBef>
              <a:spcAft>
                <a:spcPct val="0"/>
              </a:spcAft>
              <a:defRPr sz="13900" b="1">
                <a:solidFill>
                  <a:schemeClr val="tx2"/>
                </a:solidFill>
                <a:latin typeface="Arial" charset="0"/>
              </a:defRPr>
            </a:lvl5pPr>
            <a:lvl6pPr marL="2880360" algn="l" defTabSz="6030757" rtl="0" eaLnBrk="1" fontAlgn="base" hangingPunct="1">
              <a:lnSpc>
                <a:spcPct val="90000"/>
              </a:lnSpc>
              <a:spcBef>
                <a:spcPct val="0"/>
              </a:spcBef>
              <a:spcAft>
                <a:spcPct val="0"/>
              </a:spcAft>
              <a:defRPr sz="13900" b="1">
                <a:solidFill>
                  <a:schemeClr val="tx2"/>
                </a:solidFill>
                <a:latin typeface="Arial" charset="0"/>
              </a:defRPr>
            </a:lvl6pPr>
            <a:lvl7pPr marL="5760720" algn="l" defTabSz="6030757" rtl="0" eaLnBrk="1" fontAlgn="base" hangingPunct="1">
              <a:lnSpc>
                <a:spcPct val="90000"/>
              </a:lnSpc>
              <a:spcBef>
                <a:spcPct val="0"/>
              </a:spcBef>
              <a:spcAft>
                <a:spcPct val="0"/>
              </a:spcAft>
              <a:defRPr sz="13900" b="1">
                <a:solidFill>
                  <a:schemeClr val="tx2"/>
                </a:solidFill>
                <a:latin typeface="Arial" charset="0"/>
              </a:defRPr>
            </a:lvl7pPr>
            <a:lvl8pPr marL="8641080" algn="l" defTabSz="6030757" rtl="0" eaLnBrk="1" fontAlgn="base" hangingPunct="1">
              <a:lnSpc>
                <a:spcPct val="90000"/>
              </a:lnSpc>
              <a:spcBef>
                <a:spcPct val="0"/>
              </a:spcBef>
              <a:spcAft>
                <a:spcPct val="0"/>
              </a:spcAft>
              <a:defRPr sz="13900" b="1">
                <a:solidFill>
                  <a:schemeClr val="tx2"/>
                </a:solidFill>
                <a:latin typeface="Arial" charset="0"/>
              </a:defRPr>
            </a:lvl8pPr>
            <a:lvl9pPr marL="11521440" algn="l" defTabSz="6030757" rtl="0" eaLnBrk="1" fontAlgn="base" hangingPunct="1">
              <a:lnSpc>
                <a:spcPct val="90000"/>
              </a:lnSpc>
              <a:spcBef>
                <a:spcPct val="0"/>
              </a:spcBef>
              <a:spcAft>
                <a:spcPct val="0"/>
              </a:spcAft>
              <a:defRPr sz="13900" b="1">
                <a:solidFill>
                  <a:schemeClr val="tx2"/>
                </a:solidFill>
                <a:latin typeface="Arial" charset="0"/>
              </a:defRPr>
            </a:lvl9pPr>
          </a:lstStyle>
          <a:p>
            <a:r>
              <a:rPr lang="en-GB" sz="1200" dirty="0" smtClean="0">
                <a:solidFill>
                  <a:schemeClr val="tx1"/>
                </a:solidFill>
              </a:rPr>
              <a:t>Percentages reflect sales growth in 2013 versus 2012. </a:t>
            </a:r>
          </a:p>
          <a:p>
            <a:r>
              <a:rPr lang="en-US" sz="1200" dirty="0" smtClean="0">
                <a:solidFill>
                  <a:srgbClr val="626469"/>
                </a:solidFill>
              </a:rPr>
              <a:t>Growth at constant exchange rates. Source: Syngenta estimates</a:t>
            </a:r>
          </a:p>
          <a:p>
            <a:pPr>
              <a:lnSpc>
                <a:spcPct val="85000"/>
              </a:lnSpc>
            </a:pPr>
            <a:endParaRPr lang="en-GB" sz="1200" dirty="0">
              <a:solidFill>
                <a:schemeClr val="tx1"/>
              </a:solidFill>
            </a:endParaRPr>
          </a:p>
        </p:txBody>
      </p:sp>
      <p:grpSp>
        <p:nvGrpSpPr>
          <p:cNvPr id="8" name="Group 68"/>
          <p:cNvGrpSpPr/>
          <p:nvPr/>
        </p:nvGrpSpPr>
        <p:grpSpPr>
          <a:xfrm>
            <a:off x="6135902" y="1507551"/>
            <a:ext cx="2627098" cy="4359849"/>
            <a:chOff x="6135902" y="1304800"/>
            <a:chExt cx="2627098" cy="4359849"/>
          </a:xfrm>
        </p:grpSpPr>
        <p:sp>
          <p:nvSpPr>
            <p:cNvPr id="70" name="Text Box 128"/>
            <p:cNvSpPr txBox="1">
              <a:spLocks noChangeArrowheads="1"/>
            </p:cNvSpPr>
            <p:nvPr/>
          </p:nvSpPr>
          <p:spPr bwMode="auto">
            <a:xfrm>
              <a:off x="6135902" y="4556653"/>
              <a:ext cx="2627098" cy="1107996"/>
            </a:xfrm>
            <a:prstGeom prst="rect">
              <a:avLst/>
            </a:prstGeom>
            <a:noFill/>
            <a:ln w="9525">
              <a:noFill/>
              <a:miter lim="800000"/>
              <a:headEnd/>
              <a:tailEnd/>
            </a:ln>
          </p:spPr>
          <p:txBody>
            <a:bodyPr wrap="square">
              <a:spAutoFit/>
            </a:bodyPr>
            <a:lstStyle/>
            <a:p>
              <a:pPr algn="ctr" eaLnBrk="0" hangingPunct="0"/>
              <a:r>
                <a:rPr lang="en-GB" sz="4400" dirty="0" smtClean="0"/>
                <a:t>$14.7 bn</a:t>
              </a:r>
            </a:p>
            <a:p>
              <a:pPr algn="ctr" eaLnBrk="0" hangingPunct="0"/>
              <a:r>
                <a:rPr lang="en-GB" sz="2200" dirty="0" smtClean="0"/>
                <a:t>Group sales 2013</a:t>
              </a:r>
              <a:endParaRPr lang="en-GB" sz="2200" dirty="0"/>
            </a:p>
          </p:txBody>
        </p:sp>
        <p:grpSp>
          <p:nvGrpSpPr>
            <p:cNvPr id="9" name="Group 271"/>
            <p:cNvGrpSpPr/>
            <p:nvPr/>
          </p:nvGrpSpPr>
          <p:grpSpPr>
            <a:xfrm>
              <a:off x="6308924" y="1304800"/>
              <a:ext cx="2225476" cy="2772001"/>
              <a:chOff x="533400" y="2996332"/>
              <a:chExt cx="762000" cy="731230"/>
            </a:xfrm>
          </p:grpSpPr>
          <p:sp>
            <p:nvSpPr>
              <p:cNvPr id="76" name="Rectangle 75"/>
              <p:cNvSpPr/>
              <p:nvPr/>
            </p:nvSpPr>
            <p:spPr bwMode="auto">
              <a:xfrm>
                <a:off x="609600" y="3509143"/>
                <a:ext cx="228600" cy="218419"/>
              </a:xfrm>
              <a:prstGeom prst="rect">
                <a:avLst/>
              </a:prstGeom>
              <a:solidFill>
                <a:schemeClr val="accent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p:txBody>
          </p:sp>
          <p:sp>
            <p:nvSpPr>
              <p:cNvPr id="77" name="Rectangle 76"/>
              <p:cNvSpPr/>
              <p:nvPr/>
            </p:nvSpPr>
            <p:spPr bwMode="auto">
              <a:xfrm>
                <a:off x="990600" y="2996332"/>
                <a:ext cx="228600" cy="731230"/>
              </a:xfrm>
              <a:prstGeom prst="rect">
                <a:avLst/>
              </a:prstGeom>
              <a:solidFill>
                <a:schemeClr val="tx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ts val="600"/>
                  </a:spcAft>
                  <a:buClrTx/>
                  <a:buSzTx/>
                  <a:buFontTx/>
                  <a:buNone/>
                  <a:tabLst/>
                </a:pPr>
                <a:endParaRPr kumimoji="0" lang="en-US" sz="1000" b="0" i="0" u="none" strike="noStrike" cap="none" normalizeH="0" baseline="0" dirty="0" smtClean="0">
                  <a:ln>
                    <a:noFill/>
                  </a:ln>
                  <a:solidFill>
                    <a:schemeClr val="tx1"/>
                  </a:solidFill>
                  <a:effectLst/>
                  <a:latin typeface="Arial" charset="0"/>
                </a:endParaRPr>
              </a:p>
            </p:txBody>
          </p:sp>
          <p:cxnSp>
            <p:nvCxnSpPr>
              <p:cNvPr id="78" name="Straight Connector 77"/>
              <p:cNvCxnSpPr/>
              <p:nvPr/>
            </p:nvCxnSpPr>
            <p:spPr bwMode="auto">
              <a:xfrm>
                <a:off x="533400" y="3723215"/>
                <a:ext cx="762000" cy="0"/>
              </a:xfrm>
              <a:prstGeom prst="line">
                <a:avLst/>
              </a:prstGeom>
              <a:solidFill>
                <a:schemeClr val="accent2"/>
              </a:solidFill>
              <a:ln w="6350" cap="flat" cmpd="sng" algn="ctr">
                <a:solidFill>
                  <a:schemeClr val="tx1"/>
                </a:solidFill>
                <a:prstDash val="solid"/>
                <a:round/>
                <a:headEnd type="none" w="sm" len="sm"/>
                <a:tailEnd type="none" w="sm" len="sm"/>
              </a:ln>
              <a:effectLst/>
            </p:spPr>
          </p:cxnSp>
        </p:grpSp>
        <p:sp>
          <p:nvSpPr>
            <p:cNvPr id="72" name="TextBox 71"/>
            <p:cNvSpPr txBox="1"/>
            <p:nvPr/>
          </p:nvSpPr>
          <p:spPr>
            <a:xfrm>
              <a:off x="6577129" y="4069580"/>
              <a:ext cx="1103282" cy="1103282"/>
            </a:xfrm>
            <a:prstGeom prst="rect">
              <a:avLst/>
            </a:prstGeom>
            <a:noFill/>
          </p:spPr>
          <p:txBody>
            <a:bodyPr wrap="none" rtlCol="0">
              <a:normAutofit/>
            </a:bodyPr>
            <a:lstStyle/>
            <a:p>
              <a:pPr>
                <a:spcBef>
                  <a:spcPts val="0"/>
                </a:spcBef>
                <a:spcAft>
                  <a:spcPts val="600"/>
                </a:spcAft>
              </a:pPr>
              <a:r>
                <a:rPr lang="fr-CH" sz="1200" dirty="0" smtClean="0"/>
                <a:t>Seeds</a:t>
              </a:r>
              <a:endParaRPr lang="en-US" sz="1200" dirty="0" smtClean="0"/>
            </a:p>
          </p:txBody>
        </p:sp>
        <p:sp>
          <p:nvSpPr>
            <p:cNvPr id="73" name="TextBox 72"/>
            <p:cNvSpPr txBox="1"/>
            <p:nvPr/>
          </p:nvSpPr>
          <p:spPr>
            <a:xfrm>
              <a:off x="7568751" y="4069580"/>
              <a:ext cx="1103282" cy="1103282"/>
            </a:xfrm>
            <a:prstGeom prst="rect">
              <a:avLst/>
            </a:prstGeom>
            <a:noFill/>
          </p:spPr>
          <p:txBody>
            <a:bodyPr wrap="none" rtlCol="0">
              <a:normAutofit/>
            </a:bodyPr>
            <a:lstStyle/>
            <a:p>
              <a:pPr>
                <a:spcBef>
                  <a:spcPts val="0"/>
                </a:spcBef>
                <a:spcAft>
                  <a:spcPts val="0"/>
                </a:spcAft>
              </a:pPr>
              <a:r>
                <a:rPr lang="fr-CH" sz="1200" dirty="0" smtClean="0"/>
                <a:t>Crop</a:t>
              </a:r>
            </a:p>
            <a:p>
              <a:pPr>
                <a:spcBef>
                  <a:spcPts val="0"/>
                </a:spcBef>
                <a:spcAft>
                  <a:spcPts val="0"/>
                </a:spcAft>
              </a:pPr>
              <a:r>
                <a:rPr lang="fr-CH" sz="1200" dirty="0" smtClean="0"/>
                <a:t>Protection</a:t>
              </a:r>
              <a:endParaRPr lang="en-US" sz="1200" dirty="0" smtClean="0"/>
            </a:p>
          </p:txBody>
        </p:sp>
        <p:sp>
          <p:nvSpPr>
            <p:cNvPr id="74" name="Rectangle 73"/>
            <p:cNvSpPr/>
            <p:nvPr/>
          </p:nvSpPr>
          <p:spPr>
            <a:xfrm>
              <a:off x="7689288" y="1515262"/>
              <a:ext cx="570990" cy="323165"/>
            </a:xfrm>
            <a:prstGeom prst="rect">
              <a:avLst/>
            </a:prstGeom>
          </p:spPr>
          <p:txBody>
            <a:bodyPr wrap="none">
              <a:spAutoFit/>
            </a:bodyPr>
            <a:lstStyle/>
            <a:p>
              <a:pPr algn="ctr" eaLnBrk="0" hangingPunct="0">
                <a:spcAft>
                  <a:spcPts val="600"/>
                </a:spcAft>
              </a:pPr>
              <a:r>
                <a:rPr lang="en-GB" sz="1500" b="1" dirty="0" smtClean="0">
                  <a:solidFill>
                    <a:srgbClr val="FFFFFF"/>
                  </a:solidFill>
                </a:rPr>
                <a:t>77%</a:t>
              </a:r>
              <a:endParaRPr lang="en-GB" sz="1500" dirty="0">
                <a:solidFill>
                  <a:srgbClr val="FFFFFF"/>
                </a:solidFill>
              </a:endParaRPr>
            </a:p>
          </p:txBody>
        </p:sp>
        <p:sp>
          <p:nvSpPr>
            <p:cNvPr id="75" name="Text Box 8"/>
            <p:cNvSpPr txBox="1">
              <a:spLocks noChangeArrowheads="1"/>
            </p:cNvSpPr>
            <p:nvPr/>
          </p:nvSpPr>
          <p:spPr bwMode="auto">
            <a:xfrm>
              <a:off x="6412071" y="3360284"/>
              <a:ext cx="903287" cy="323165"/>
            </a:xfrm>
            <a:prstGeom prst="rect">
              <a:avLst/>
            </a:prstGeom>
            <a:noFill/>
            <a:ln w="12700">
              <a:noFill/>
              <a:miter lim="800000"/>
              <a:headEnd type="none" w="sm" len="sm"/>
              <a:tailEnd type="none" w="sm" len="sm"/>
            </a:ln>
          </p:spPr>
          <p:txBody>
            <a:bodyPr>
              <a:spAutoFit/>
            </a:bodyPr>
            <a:lstStyle/>
            <a:p>
              <a:pPr algn="ctr" eaLnBrk="0" hangingPunct="0">
                <a:spcAft>
                  <a:spcPct val="8000"/>
                </a:spcAft>
              </a:pPr>
              <a:r>
                <a:rPr lang="en-GB" sz="1500" b="1" dirty="0" smtClean="0">
                  <a:solidFill>
                    <a:srgbClr val="FFFFFF"/>
                  </a:solidFill>
                </a:rPr>
                <a:t>23%</a:t>
              </a:r>
              <a:endParaRPr lang="en-GB" sz="1500" dirty="0">
                <a:solidFill>
                  <a:srgbClr val="FFFFFF"/>
                </a:solidFill>
              </a:endParaRPr>
            </a:p>
          </p:txBody>
        </p:sp>
      </p:grpSp>
      <p:sp>
        <p:nvSpPr>
          <p:cNvPr id="48" name="Footer Placeholder 3"/>
          <p:cNvSpPr>
            <a:spLocks noGrp="1"/>
          </p:cNvSpPr>
          <p:nvPr>
            <p:ph type="ftr" sz="quarter" idx="10"/>
          </p:nvPr>
        </p:nvSpPr>
        <p:spPr>
          <a:xfrm>
            <a:off x="792163" y="6457183"/>
            <a:ext cx="5753100" cy="376238"/>
          </a:xfrm>
        </p:spPr>
        <p:txBody>
          <a:bodyPr>
            <a:normAutofit/>
          </a:bodyPr>
          <a:lstStyle/>
          <a:p>
            <a:pPr>
              <a:defRPr/>
            </a:pPr>
            <a:r>
              <a:rPr lang="en-US" sz="1050" dirty="0" smtClean="0"/>
              <a:t>Classification: PUBLIC</a:t>
            </a:r>
            <a:endParaRPr lang="en-US" sz="1050" dirty="0"/>
          </a:p>
        </p:txBody>
      </p:sp>
    </p:spTree>
    <p:extLst>
      <p:ext uri="{BB962C8B-B14F-4D97-AF65-F5344CB8AC3E}">
        <p14:creationId xmlns:p14="http://schemas.microsoft.com/office/powerpoint/2010/main" val="1969361993"/>
      </p:ext>
    </p:extLst>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NPUWFPA01\u554764$\Documents\DATABASE DONE\Corn Business Tracker\PHOTOS\MH Kharif 2012 Sillod\Edited 053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40" y="0"/>
            <a:ext cx="9142060" cy="617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txBox="1">
            <a:spLocks/>
          </p:cNvSpPr>
          <p:nvPr/>
        </p:nvSpPr>
        <p:spPr bwMode="auto">
          <a:xfrm>
            <a:off x="127399" y="1781252"/>
            <a:ext cx="8453437"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defTabSz="957263" fontAlgn="base">
              <a:lnSpc>
                <a:spcPct val="90000"/>
              </a:lnSpc>
              <a:spcBef>
                <a:spcPct val="0"/>
              </a:spcBef>
              <a:spcAft>
                <a:spcPct val="0"/>
              </a:spcAft>
            </a:pPr>
            <a:r>
              <a:rPr lang="en-US" sz="3200" b="1" kern="0" dirty="0" smtClean="0">
                <a:solidFill>
                  <a:schemeClr val="bg1"/>
                </a:solidFill>
              </a:rPr>
              <a:t>Syngenta </a:t>
            </a:r>
            <a:r>
              <a:rPr lang="en-US" sz="3200" b="1" kern="0" dirty="0">
                <a:solidFill>
                  <a:schemeClr val="bg1"/>
                </a:solidFill>
              </a:rPr>
              <a:t>in </a:t>
            </a:r>
            <a:r>
              <a:rPr lang="en-US" sz="3200" b="1" kern="0" dirty="0" smtClean="0">
                <a:solidFill>
                  <a:schemeClr val="bg1"/>
                </a:solidFill>
              </a:rPr>
              <a:t>India is….</a:t>
            </a:r>
            <a:endParaRPr lang="en-US" sz="3200" b="1" kern="0" dirty="0">
              <a:solidFill>
                <a:schemeClr val="bg1"/>
              </a:solidFill>
            </a:endParaRPr>
          </a:p>
        </p:txBody>
      </p:sp>
      <p:sp>
        <p:nvSpPr>
          <p:cNvPr id="9" name="Rectangle 8"/>
          <p:cNvSpPr/>
          <p:nvPr/>
        </p:nvSpPr>
        <p:spPr bwMode="auto">
          <a:xfrm>
            <a:off x="3166281" y="3875964"/>
            <a:ext cx="5974833" cy="2293186"/>
          </a:xfrm>
          <a:prstGeom prst="rect">
            <a:avLst/>
          </a:prstGeom>
          <a:solidFill>
            <a:schemeClr val="accent2">
              <a:lumMod val="75000"/>
              <a:alpha val="56000"/>
            </a:schemeClr>
          </a:solidFill>
          <a:ln>
            <a:noFill/>
            <a:headEnd type="none" w="sm" len="sm"/>
            <a:tailEnd type="none" w="sm" len="sm"/>
          </a:ln>
        </p:spPr>
        <p:style>
          <a:lnRef idx="3">
            <a:schemeClr val="lt1"/>
          </a:lnRef>
          <a:fillRef idx="1">
            <a:schemeClr val="accent2"/>
          </a:fillRef>
          <a:effectRef idx="1">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285750" indent="-285750" eaLnBrk="0" fontAlgn="base" hangingPunct="0">
              <a:spcBef>
                <a:spcPct val="0"/>
              </a:spcBef>
              <a:buFont typeface="Arial" pitchFamily="34" charset="0"/>
              <a:buChar char="•"/>
            </a:pPr>
            <a:r>
              <a:rPr lang="en-US" sz="1800" dirty="0" smtClean="0">
                <a:solidFill>
                  <a:srgbClr val="FFFFFF"/>
                </a:solidFill>
              </a:rPr>
              <a:t>One of the leading </a:t>
            </a:r>
            <a:r>
              <a:rPr lang="en-US" sz="1800" dirty="0" err="1" smtClean="0">
                <a:solidFill>
                  <a:srgbClr val="FFFFFF"/>
                </a:solidFill>
              </a:rPr>
              <a:t>agri</a:t>
            </a:r>
            <a:r>
              <a:rPr lang="en-US" sz="1800" dirty="0" smtClean="0">
                <a:solidFill>
                  <a:srgbClr val="FFFFFF"/>
                </a:solidFill>
              </a:rPr>
              <a:t>-inputs company</a:t>
            </a:r>
            <a:endParaRPr lang="en-US" sz="1800" dirty="0">
              <a:solidFill>
                <a:srgbClr val="FFFFFF"/>
              </a:solidFill>
            </a:endParaRPr>
          </a:p>
          <a:p>
            <a:pPr marL="285750" indent="-285750" eaLnBrk="0" fontAlgn="base" hangingPunct="0">
              <a:spcBef>
                <a:spcPct val="0"/>
              </a:spcBef>
              <a:buFont typeface="Arial" charset="0"/>
              <a:buChar char="•"/>
            </a:pPr>
            <a:r>
              <a:rPr lang="en-US" sz="1800" dirty="0">
                <a:solidFill>
                  <a:srgbClr val="FFFFFF"/>
                </a:solidFill>
              </a:rPr>
              <a:t>Providing Integrated solutions</a:t>
            </a:r>
          </a:p>
          <a:p>
            <a:pPr marL="285750" indent="-285750" eaLnBrk="0" fontAlgn="base" hangingPunct="0">
              <a:spcBef>
                <a:spcPct val="0"/>
              </a:spcBef>
              <a:buFont typeface="Arial" charset="0"/>
              <a:buChar char="•"/>
            </a:pPr>
            <a:r>
              <a:rPr lang="en-US" sz="1800" dirty="0">
                <a:solidFill>
                  <a:srgbClr val="FFFFFF"/>
                </a:solidFill>
              </a:rPr>
              <a:t>Engaging with growers at every </a:t>
            </a:r>
            <a:r>
              <a:rPr lang="en-US" sz="1800" dirty="0" smtClean="0">
                <a:solidFill>
                  <a:srgbClr val="FFFFFF"/>
                </a:solidFill>
              </a:rPr>
              <a:t>step</a:t>
            </a:r>
            <a:endParaRPr lang="en-US" sz="1800" dirty="0">
              <a:solidFill>
                <a:srgbClr val="FFFFFF"/>
              </a:solidFill>
            </a:endParaRPr>
          </a:p>
          <a:p>
            <a:pPr marL="285750" indent="-285750" eaLnBrk="0" fontAlgn="base" hangingPunct="0">
              <a:spcBef>
                <a:spcPct val="0"/>
              </a:spcBef>
              <a:buFont typeface="Arial" charset="0"/>
              <a:buChar char="•"/>
            </a:pPr>
            <a:r>
              <a:rPr lang="en-US" sz="1800" dirty="0">
                <a:solidFill>
                  <a:srgbClr val="FFFFFF"/>
                </a:solidFill>
              </a:rPr>
              <a:t>Focusing on 8 strategic </a:t>
            </a:r>
            <a:r>
              <a:rPr lang="en-US" sz="1800" dirty="0" smtClean="0">
                <a:solidFill>
                  <a:srgbClr val="FFFFFF"/>
                </a:solidFill>
              </a:rPr>
              <a:t>crops</a:t>
            </a:r>
            <a:endParaRPr lang="en-US" sz="1800" dirty="0">
              <a:solidFill>
                <a:srgbClr val="FFFFFF"/>
              </a:solidFill>
            </a:endParaRPr>
          </a:p>
          <a:p>
            <a:pPr marL="285750" indent="-285750" eaLnBrk="0" fontAlgn="base" hangingPunct="0">
              <a:spcBef>
                <a:spcPct val="0"/>
              </a:spcBef>
              <a:buFont typeface="Arial" charset="0"/>
              <a:buChar char="•"/>
            </a:pPr>
            <a:r>
              <a:rPr lang="en-US" sz="1800" dirty="0" smtClean="0">
                <a:solidFill>
                  <a:srgbClr val="FFFFFF"/>
                </a:solidFill>
              </a:rPr>
              <a:t>W</a:t>
            </a:r>
            <a:r>
              <a:rPr lang="en-GB" sz="1800" dirty="0" err="1" smtClean="0">
                <a:solidFill>
                  <a:srgbClr val="FFFFFF"/>
                </a:solidFill>
              </a:rPr>
              <a:t>orld</a:t>
            </a:r>
            <a:r>
              <a:rPr lang="en-GB" sz="1800" dirty="0" smtClean="0">
                <a:solidFill>
                  <a:srgbClr val="FFFFFF"/>
                </a:solidFill>
              </a:rPr>
              <a:t>-class </a:t>
            </a:r>
            <a:r>
              <a:rPr lang="en-GB" sz="1800" dirty="0">
                <a:solidFill>
                  <a:srgbClr val="FFFFFF"/>
                </a:solidFill>
              </a:rPr>
              <a:t>R&amp;T centre and Manufacturing site in Goa</a:t>
            </a:r>
          </a:p>
          <a:p>
            <a:pPr marL="285750" indent="-285750" eaLnBrk="0" fontAlgn="base" hangingPunct="0">
              <a:spcBef>
                <a:spcPct val="0"/>
              </a:spcBef>
              <a:buFont typeface="Arial" charset="0"/>
              <a:buChar char="•"/>
            </a:pPr>
            <a:r>
              <a:rPr lang="en-GB" sz="1800" dirty="0">
                <a:solidFill>
                  <a:srgbClr val="FFFFFF"/>
                </a:solidFill>
              </a:rPr>
              <a:t>Research stations across India</a:t>
            </a:r>
          </a:p>
          <a:p>
            <a:pPr marL="285750" indent="-285750" eaLnBrk="0" fontAlgn="base" hangingPunct="0">
              <a:spcBef>
                <a:spcPct val="0"/>
              </a:spcBef>
              <a:buFont typeface="Arial" charset="0"/>
              <a:buChar char="•"/>
            </a:pPr>
            <a:r>
              <a:rPr lang="en-GB" sz="1800" dirty="0">
                <a:solidFill>
                  <a:srgbClr val="FFFFFF"/>
                </a:solidFill>
              </a:rPr>
              <a:t>Seed manufacturing facilities</a:t>
            </a:r>
          </a:p>
        </p:txBody>
      </p:sp>
      <p:sp>
        <p:nvSpPr>
          <p:cNvPr id="2" name="Rectangle 1"/>
          <p:cNvSpPr/>
          <p:nvPr/>
        </p:nvSpPr>
        <p:spPr>
          <a:xfrm>
            <a:off x="588696" y="6513114"/>
            <a:ext cx="1470274" cy="246221"/>
          </a:xfrm>
          <a:prstGeom prst="rect">
            <a:avLst/>
          </a:prstGeom>
        </p:spPr>
        <p:txBody>
          <a:bodyPr wrap="none">
            <a:spAutoFit/>
          </a:bodyPr>
          <a:lstStyle/>
          <a:p>
            <a:pPr>
              <a:defRPr/>
            </a:pPr>
            <a:r>
              <a:rPr lang="en-US" dirty="0"/>
              <a:t>Classification: PUBLIC</a:t>
            </a:r>
          </a:p>
        </p:txBody>
      </p:sp>
      <p:grpSp>
        <p:nvGrpSpPr>
          <p:cNvPr id="8" name="Group 178"/>
          <p:cNvGrpSpPr>
            <a:grpSpLocks/>
          </p:cNvGrpSpPr>
          <p:nvPr/>
        </p:nvGrpSpPr>
        <p:grpSpPr bwMode="auto">
          <a:xfrm>
            <a:off x="141560" y="163776"/>
            <a:ext cx="1113572" cy="1184881"/>
            <a:chOff x="304799" y="3984524"/>
            <a:chExt cx="5905276" cy="5463398"/>
          </a:xfrm>
          <a:solidFill>
            <a:schemeClr val="bg1">
              <a:lumMod val="75000"/>
            </a:schemeClr>
          </a:solidFill>
        </p:grpSpPr>
        <p:sp>
          <p:nvSpPr>
            <p:cNvPr id="10" name="Freeform 213"/>
            <p:cNvSpPr>
              <a:spLocks noChangeArrowheads="1"/>
            </p:cNvSpPr>
            <p:nvPr/>
          </p:nvSpPr>
          <p:spPr bwMode="auto">
            <a:xfrm>
              <a:off x="2316673" y="7775575"/>
              <a:ext cx="695323" cy="1422400"/>
            </a:xfrm>
            <a:custGeom>
              <a:avLst/>
              <a:gdLst>
                <a:gd name="T0" fmla="*/ 710642 w 347106"/>
                <a:gd name="T1" fmla="*/ 1398735 h 711585"/>
                <a:gd name="T2" fmla="*/ 650490 w 347106"/>
                <a:gd name="T3" fmla="*/ 1361293 h 711585"/>
                <a:gd name="T4" fmla="*/ 550236 w 347106"/>
                <a:gd name="T5" fmla="*/ 1192784 h 711585"/>
                <a:gd name="T6" fmla="*/ 510130 w 347106"/>
                <a:gd name="T7" fmla="*/ 1136619 h 711585"/>
                <a:gd name="T8" fmla="*/ 449976 w 347106"/>
                <a:gd name="T9" fmla="*/ 930660 h 711585"/>
                <a:gd name="T10" fmla="*/ 429926 w 347106"/>
                <a:gd name="T11" fmla="*/ 837047 h 711585"/>
                <a:gd name="T12" fmla="*/ 369773 w 347106"/>
                <a:gd name="T13" fmla="*/ 799599 h 711585"/>
                <a:gd name="T14" fmla="*/ 329671 w 347106"/>
                <a:gd name="T15" fmla="*/ 743432 h 711585"/>
                <a:gd name="T16" fmla="*/ 249467 w 347106"/>
                <a:gd name="T17" fmla="*/ 443866 h 711585"/>
                <a:gd name="T18" fmla="*/ 209365 w 347106"/>
                <a:gd name="T19" fmla="*/ 331529 h 711585"/>
                <a:gd name="T20" fmla="*/ 189313 w 347106"/>
                <a:gd name="T21" fmla="*/ 275357 h 711585"/>
                <a:gd name="T22" fmla="*/ 169263 w 347106"/>
                <a:gd name="T23" fmla="*/ 219191 h 711585"/>
                <a:gd name="T24" fmla="*/ 48956 w 347106"/>
                <a:gd name="T25" fmla="*/ 144304 h 711585"/>
                <a:gd name="T26" fmla="*/ 48956 w 347106"/>
                <a:gd name="T27" fmla="*/ 13215 h 711585"/>
                <a:gd name="T28" fmla="*/ 129161 w 347106"/>
                <a:gd name="T29" fmla="*/ 31945 h 711585"/>
                <a:gd name="T30" fmla="*/ 169263 w 347106"/>
                <a:gd name="T31" fmla="*/ 88134 h 711585"/>
                <a:gd name="T32" fmla="*/ 189313 w 347106"/>
                <a:gd name="T33" fmla="*/ 144304 h 711585"/>
                <a:gd name="T34" fmla="*/ 269513 w 347106"/>
                <a:gd name="T35" fmla="*/ 256633 h 711585"/>
                <a:gd name="T36" fmla="*/ 349723 w 347106"/>
                <a:gd name="T37" fmla="*/ 368976 h 711585"/>
                <a:gd name="T38" fmla="*/ 389823 w 347106"/>
                <a:gd name="T39" fmla="*/ 481309 h 711585"/>
                <a:gd name="T40" fmla="*/ 409871 w 347106"/>
                <a:gd name="T41" fmla="*/ 537479 h 711585"/>
                <a:gd name="T42" fmla="*/ 429926 w 347106"/>
                <a:gd name="T43" fmla="*/ 593653 h 711585"/>
                <a:gd name="T44" fmla="*/ 490078 w 347106"/>
                <a:gd name="T45" fmla="*/ 780877 h 711585"/>
                <a:gd name="T46" fmla="*/ 550236 w 347106"/>
                <a:gd name="T47" fmla="*/ 893214 h 711585"/>
                <a:gd name="T48" fmla="*/ 610386 w 347106"/>
                <a:gd name="T49" fmla="*/ 930660 h 711585"/>
                <a:gd name="T50" fmla="*/ 630440 w 347106"/>
                <a:gd name="T51" fmla="*/ 986828 h 711585"/>
                <a:gd name="T52" fmla="*/ 610386 w 347106"/>
                <a:gd name="T53" fmla="*/ 1042999 h 711585"/>
                <a:gd name="T54" fmla="*/ 670540 w 347106"/>
                <a:gd name="T55" fmla="*/ 1080449 h 711585"/>
                <a:gd name="T56" fmla="*/ 650490 w 347106"/>
                <a:gd name="T57" fmla="*/ 1267676 h 711585"/>
                <a:gd name="T58" fmla="*/ 730695 w 347106"/>
                <a:gd name="T59" fmla="*/ 1380011 h 711585"/>
                <a:gd name="T60" fmla="*/ 710642 w 347106"/>
                <a:gd name="T61" fmla="*/ 1398735 h 7115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47106"/>
                <a:gd name="T94" fmla="*/ 0 h 711585"/>
                <a:gd name="T95" fmla="*/ 347106 w 347106"/>
                <a:gd name="T96" fmla="*/ 711585 h 7115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47106" h="711585">
                  <a:moveTo>
                    <a:pt x="337581" y="711585"/>
                  </a:moveTo>
                  <a:cubicBezTo>
                    <a:pt x="328056" y="705235"/>
                    <a:pt x="316544" y="701150"/>
                    <a:pt x="309006" y="692535"/>
                  </a:cubicBezTo>
                  <a:cubicBezTo>
                    <a:pt x="238930" y="612448"/>
                    <a:pt x="289726" y="663500"/>
                    <a:pt x="261381" y="606810"/>
                  </a:cubicBezTo>
                  <a:cubicBezTo>
                    <a:pt x="256261" y="596571"/>
                    <a:pt x="248681" y="587760"/>
                    <a:pt x="242331" y="578235"/>
                  </a:cubicBezTo>
                  <a:cubicBezTo>
                    <a:pt x="228868" y="510919"/>
                    <a:pt x="237926" y="545969"/>
                    <a:pt x="213756" y="473460"/>
                  </a:cubicBezTo>
                  <a:cubicBezTo>
                    <a:pt x="208636" y="458101"/>
                    <a:pt x="212263" y="439891"/>
                    <a:pt x="204231" y="425835"/>
                  </a:cubicBezTo>
                  <a:cubicBezTo>
                    <a:pt x="198551" y="415896"/>
                    <a:pt x="185181" y="413135"/>
                    <a:pt x="175656" y="406785"/>
                  </a:cubicBezTo>
                  <a:cubicBezTo>
                    <a:pt x="169306" y="397260"/>
                    <a:pt x="161255" y="388671"/>
                    <a:pt x="156606" y="378210"/>
                  </a:cubicBezTo>
                  <a:cubicBezTo>
                    <a:pt x="118588" y="292670"/>
                    <a:pt x="155569" y="336998"/>
                    <a:pt x="118506" y="225810"/>
                  </a:cubicBezTo>
                  <a:lnTo>
                    <a:pt x="99456" y="168660"/>
                  </a:lnTo>
                  <a:lnTo>
                    <a:pt x="89931" y="140085"/>
                  </a:lnTo>
                  <a:cubicBezTo>
                    <a:pt x="86756" y="130560"/>
                    <a:pt x="88760" y="117079"/>
                    <a:pt x="80406" y="111510"/>
                  </a:cubicBezTo>
                  <a:lnTo>
                    <a:pt x="23256" y="73410"/>
                  </a:lnTo>
                  <a:cubicBezTo>
                    <a:pt x="18255" y="58406"/>
                    <a:pt x="0" y="20688"/>
                    <a:pt x="23256" y="6735"/>
                  </a:cubicBezTo>
                  <a:cubicBezTo>
                    <a:pt x="34481" y="0"/>
                    <a:pt x="48656" y="13085"/>
                    <a:pt x="61356" y="16260"/>
                  </a:cubicBezTo>
                  <a:cubicBezTo>
                    <a:pt x="67706" y="25785"/>
                    <a:pt x="75286" y="34596"/>
                    <a:pt x="80406" y="44835"/>
                  </a:cubicBezTo>
                  <a:cubicBezTo>
                    <a:pt x="84896" y="53815"/>
                    <a:pt x="85055" y="64633"/>
                    <a:pt x="89931" y="73410"/>
                  </a:cubicBezTo>
                  <a:cubicBezTo>
                    <a:pt x="101050" y="93424"/>
                    <a:pt x="115331" y="111510"/>
                    <a:pt x="128031" y="130560"/>
                  </a:cubicBezTo>
                  <a:lnTo>
                    <a:pt x="166131" y="187710"/>
                  </a:lnTo>
                  <a:cubicBezTo>
                    <a:pt x="177270" y="204418"/>
                    <a:pt x="178831" y="225810"/>
                    <a:pt x="185181" y="244860"/>
                  </a:cubicBezTo>
                  <a:lnTo>
                    <a:pt x="194706" y="273435"/>
                  </a:lnTo>
                  <a:cubicBezTo>
                    <a:pt x="197881" y="282960"/>
                    <a:pt x="201796" y="292270"/>
                    <a:pt x="204231" y="302010"/>
                  </a:cubicBezTo>
                  <a:cubicBezTo>
                    <a:pt x="218626" y="359591"/>
                    <a:pt x="209616" y="327691"/>
                    <a:pt x="232806" y="397260"/>
                  </a:cubicBezTo>
                  <a:cubicBezTo>
                    <a:pt x="240553" y="420501"/>
                    <a:pt x="242917" y="435946"/>
                    <a:pt x="261381" y="454410"/>
                  </a:cubicBezTo>
                  <a:cubicBezTo>
                    <a:pt x="269476" y="462505"/>
                    <a:pt x="280431" y="467110"/>
                    <a:pt x="289956" y="473460"/>
                  </a:cubicBezTo>
                  <a:cubicBezTo>
                    <a:pt x="293131" y="482985"/>
                    <a:pt x="299481" y="491995"/>
                    <a:pt x="299481" y="502035"/>
                  </a:cubicBezTo>
                  <a:cubicBezTo>
                    <a:pt x="299481" y="512075"/>
                    <a:pt x="286227" y="521288"/>
                    <a:pt x="289956" y="530610"/>
                  </a:cubicBezTo>
                  <a:cubicBezTo>
                    <a:pt x="294208" y="541239"/>
                    <a:pt x="309006" y="543310"/>
                    <a:pt x="318531" y="549660"/>
                  </a:cubicBezTo>
                  <a:cubicBezTo>
                    <a:pt x="315356" y="581410"/>
                    <a:pt x="303126" y="613548"/>
                    <a:pt x="309006" y="644910"/>
                  </a:cubicBezTo>
                  <a:cubicBezTo>
                    <a:pt x="313225" y="667413"/>
                    <a:pt x="347106" y="702060"/>
                    <a:pt x="347106" y="702060"/>
                  </a:cubicBezTo>
                  <a:lnTo>
                    <a:pt x="337581" y="711585"/>
                  </a:lnTo>
                  <a:close/>
                </a:path>
              </a:pathLst>
            </a:custGeom>
            <a:grpFill/>
            <a:ln w="12700" algn="ctr">
              <a:solidFill>
                <a:schemeClr val="bg1"/>
              </a:solidFill>
              <a:round/>
              <a:headEnd type="none" w="sm" len="sm"/>
              <a:tailEnd type="none" w="sm" len="sm"/>
            </a:ln>
          </p:spPr>
          <p:txBody>
            <a:bodyPr/>
            <a:lstStyle/>
            <a:p>
              <a:pPr eaLnBrk="0" hangingPunct="0">
                <a:defRPr/>
              </a:pPr>
              <a:endParaRPr lang="en-GB" dirty="0">
                <a:solidFill>
                  <a:srgbClr val="626469"/>
                </a:solidFill>
              </a:endParaRPr>
            </a:p>
          </p:txBody>
        </p:sp>
        <p:sp>
          <p:nvSpPr>
            <p:cNvPr id="11" name="Freeform 10"/>
            <p:cNvSpPr>
              <a:spLocks noChangeArrowheads="1"/>
            </p:cNvSpPr>
            <p:nvPr/>
          </p:nvSpPr>
          <p:spPr bwMode="auto">
            <a:xfrm>
              <a:off x="2351839" y="4184544"/>
              <a:ext cx="1065438" cy="735788"/>
            </a:xfrm>
            <a:custGeom>
              <a:avLst/>
              <a:gdLst>
                <a:gd name="T0" fmla="*/ 0 w 1410896"/>
                <a:gd name="T1" fmla="*/ 0 h 952500"/>
                <a:gd name="T2" fmla="*/ 1410896 w 1410896"/>
                <a:gd name="T3" fmla="*/ 952500 h 952500"/>
              </a:gdLst>
              <a:ahLst/>
              <a:cxnLst/>
              <a:rect l="T0" t="T1" r="T2" b="T3"/>
              <a:pathLst>
                <a:path w="1410896" h="952500">
                  <a:moveTo>
                    <a:pt x="923925" y="133350"/>
                  </a:moveTo>
                  <a:cubicBezTo>
                    <a:pt x="927100" y="125412"/>
                    <a:pt x="945028" y="115983"/>
                    <a:pt x="952500" y="104775"/>
                  </a:cubicBezTo>
                  <a:cubicBezTo>
                    <a:pt x="958069" y="96421"/>
                    <a:pt x="954925" y="83300"/>
                    <a:pt x="962025" y="76200"/>
                  </a:cubicBezTo>
                  <a:cubicBezTo>
                    <a:pt x="969125" y="69100"/>
                    <a:pt x="981620" y="71165"/>
                    <a:pt x="990600" y="66675"/>
                  </a:cubicBezTo>
                  <a:cubicBezTo>
                    <a:pt x="1000839" y="61555"/>
                    <a:pt x="1008714" y="52274"/>
                    <a:pt x="1019175" y="47625"/>
                  </a:cubicBezTo>
                  <a:cubicBezTo>
                    <a:pt x="1037525" y="39470"/>
                    <a:pt x="1059617" y="39714"/>
                    <a:pt x="1076325" y="28575"/>
                  </a:cubicBezTo>
                  <a:cubicBezTo>
                    <a:pt x="1118370" y="545"/>
                    <a:pt x="1093675" y="11770"/>
                    <a:pt x="1152525" y="0"/>
                  </a:cubicBezTo>
                  <a:cubicBezTo>
                    <a:pt x="1174750" y="3175"/>
                    <a:pt x="1198684" y="407"/>
                    <a:pt x="1219200" y="9525"/>
                  </a:cubicBezTo>
                  <a:cubicBezTo>
                    <a:pt x="1244119" y="20600"/>
                    <a:pt x="1234367" y="49915"/>
                    <a:pt x="1247775" y="66675"/>
                  </a:cubicBezTo>
                  <a:cubicBezTo>
                    <a:pt x="1261204" y="83461"/>
                    <a:pt x="1286101" y="88975"/>
                    <a:pt x="1304925" y="95250"/>
                  </a:cubicBezTo>
                  <a:cubicBezTo>
                    <a:pt x="1314450" y="92075"/>
                    <a:pt x="1323596" y="84074"/>
                    <a:pt x="1333500" y="85725"/>
                  </a:cubicBezTo>
                  <a:cubicBezTo>
                    <a:pt x="1344792" y="87607"/>
                    <a:pt x="1351836" y="99655"/>
                    <a:pt x="1362075" y="104775"/>
                  </a:cubicBezTo>
                  <a:cubicBezTo>
                    <a:pt x="1371055" y="109265"/>
                    <a:pt x="1381125" y="111125"/>
                    <a:pt x="1390650" y="114300"/>
                  </a:cubicBezTo>
                  <a:cubicBezTo>
                    <a:pt x="1397000" y="123825"/>
                    <a:pt x="1409700" y="131427"/>
                    <a:pt x="1409700" y="142875"/>
                  </a:cubicBezTo>
                  <a:cubicBezTo>
                    <a:pt x="1409700" y="162955"/>
                    <a:pt x="1390650" y="200025"/>
                    <a:pt x="1390650" y="200025"/>
                  </a:cubicBezTo>
                  <a:cubicBezTo>
                    <a:pt x="1394224" y="210748"/>
                    <a:pt x="1410896" y="258328"/>
                    <a:pt x="1409700" y="266700"/>
                  </a:cubicBezTo>
                  <a:cubicBezTo>
                    <a:pt x="1406358" y="290095"/>
                    <a:pt x="1378117" y="303630"/>
                    <a:pt x="1362075" y="314325"/>
                  </a:cubicBezTo>
                  <a:cubicBezTo>
                    <a:pt x="1345310" y="364620"/>
                    <a:pt x="1360904" y="337331"/>
                    <a:pt x="1295400" y="381000"/>
                  </a:cubicBezTo>
                  <a:lnTo>
                    <a:pt x="1266825" y="400050"/>
                  </a:lnTo>
                  <a:cubicBezTo>
                    <a:pt x="1263650" y="409575"/>
                    <a:pt x="1255649" y="418721"/>
                    <a:pt x="1257300" y="428625"/>
                  </a:cubicBezTo>
                  <a:cubicBezTo>
                    <a:pt x="1259182" y="439917"/>
                    <a:pt x="1276350" y="445752"/>
                    <a:pt x="1276350" y="457200"/>
                  </a:cubicBezTo>
                  <a:cubicBezTo>
                    <a:pt x="1276350" y="478367"/>
                    <a:pt x="1241425" y="496358"/>
                    <a:pt x="1228725" y="504825"/>
                  </a:cubicBezTo>
                  <a:cubicBezTo>
                    <a:pt x="1216025" y="501650"/>
                    <a:pt x="1203044" y="491160"/>
                    <a:pt x="1190625" y="495300"/>
                  </a:cubicBezTo>
                  <a:cubicBezTo>
                    <a:pt x="1179765" y="498920"/>
                    <a:pt x="1180514" y="516724"/>
                    <a:pt x="1171575" y="523875"/>
                  </a:cubicBezTo>
                  <a:cubicBezTo>
                    <a:pt x="1163735" y="530147"/>
                    <a:pt x="1152525" y="530225"/>
                    <a:pt x="1143000" y="533400"/>
                  </a:cubicBezTo>
                  <a:cubicBezTo>
                    <a:pt x="1146175" y="549275"/>
                    <a:pt x="1145826" y="566287"/>
                    <a:pt x="1152525" y="581025"/>
                  </a:cubicBezTo>
                  <a:cubicBezTo>
                    <a:pt x="1161999" y="601868"/>
                    <a:pt x="1190625" y="638175"/>
                    <a:pt x="1190625" y="638175"/>
                  </a:cubicBezTo>
                  <a:cubicBezTo>
                    <a:pt x="1184275" y="647700"/>
                    <a:pt x="1171575" y="655302"/>
                    <a:pt x="1171575" y="666750"/>
                  </a:cubicBezTo>
                  <a:cubicBezTo>
                    <a:pt x="1171575" y="678198"/>
                    <a:pt x="1185505" y="685086"/>
                    <a:pt x="1190625" y="695325"/>
                  </a:cubicBezTo>
                  <a:cubicBezTo>
                    <a:pt x="1201511" y="717098"/>
                    <a:pt x="1204241" y="749788"/>
                    <a:pt x="1209675" y="771525"/>
                  </a:cubicBezTo>
                  <a:cubicBezTo>
                    <a:pt x="1212110" y="781265"/>
                    <a:pt x="1216025" y="790575"/>
                    <a:pt x="1219200" y="800100"/>
                  </a:cubicBezTo>
                  <a:cubicBezTo>
                    <a:pt x="1216025" y="809625"/>
                    <a:pt x="1208024" y="818771"/>
                    <a:pt x="1209675" y="828675"/>
                  </a:cubicBezTo>
                  <a:cubicBezTo>
                    <a:pt x="1214744" y="859087"/>
                    <a:pt x="1235012" y="859346"/>
                    <a:pt x="1257300" y="866775"/>
                  </a:cubicBezTo>
                  <a:cubicBezTo>
                    <a:pt x="1221742" y="920113"/>
                    <a:pt x="1259319" y="878802"/>
                    <a:pt x="1181100" y="904875"/>
                  </a:cubicBezTo>
                  <a:cubicBezTo>
                    <a:pt x="1170240" y="908495"/>
                    <a:pt x="1162764" y="918805"/>
                    <a:pt x="1152525" y="923925"/>
                  </a:cubicBezTo>
                  <a:cubicBezTo>
                    <a:pt x="1143545" y="928415"/>
                    <a:pt x="1133475" y="930275"/>
                    <a:pt x="1123950" y="933450"/>
                  </a:cubicBezTo>
                  <a:cubicBezTo>
                    <a:pt x="1114425" y="923925"/>
                    <a:pt x="1102847" y="916083"/>
                    <a:pt x="1095375" y="904875"/>
                  </a:cubicBezTo>
                  <a:cubicBezTo>
                    <a:pt x="1089806" y="896521"/>
                    <a:pt x="1092122" y="884140"/>
                    <a:pt x="1085850" y="876300"/>
                  </a:cubicBezTo>
                  <a:cubicBezTo>
                    <a:pt x="1078699" y="867361"/>
                    <a:pt x="1066800" y="863600"/>
                    <a:pt x="1057275" y="857250"/>
                  </a:cubicBezTo>
                  <a:cubicBezTo>
                    <a:pt x="1047750" y="860425"/>
                    <a:pt x="1035800" y="859675"/>
                    <a:pt x="1028700" y="866775"/>
                  </a:cubicBezTo>
                  <a:cubicBezTo>
                    <a:pt x="993172" y="902303"/>
                    <a:pt x="1057422" y="904912"/>
                    <a:pt x="981075" y="885825"/>
                  </a:cubicBezTo>
                  <a:cubicBezTo>
                    <a:pt x="983029" y="879963"/>
                    <a:pt x="1004521" y="834537"/>
                    <a:pt x="981075" y="828675"/>
                  </a:cubicBezTo>
                  <a:cubicBezTo>
                    <a:pt x="969969" y="825899"/>
                    <a:pt x="962025" y="841375"/>
                    <a:pt x="952500" y="847725"/>
                  </a:cubicBezTo>
                  <a:cubicBezTo>
                    <a:pt x="946150" y="857250"/>
                    <a:pt x="944079" y="872048"/>
                    <a:pt x="933450" y="876300"/>
                  </a:cubicBezTo>
                  <a:cubicBezTo>
                    <a:pt x="921127" y="881229"/>
                    <a:pt x="882317" y="851736"/>
                    <a:pt x="876300" y="847725"/>
                  </a:cubicBezTo>
                  <a:cubicBezTo>
                    <a:pt x="873951" y="840679"/>
                    <a:pt x="860035" y="790575"/>
                    <a:pt x="847725" y="790575"/>
                  </a:cubicBezTo>
                  <a:cubicBezTo>
                    <a:pt x="836277" y="790575"/>
                    <a:pt x="837614" y="811999"/>
                    <a:pt x="828675" y="819150"/>
                  </a:cubicBezTo>
                  <a:cubicBezTo>
                    <a:pt x="820835" y="825422"/>
                    <a:pt x="809625" y="825500"/>
                    <a:pt x="800100" y="828675"/>
                  </a:cubicBezTo>
                  <a:cubicBezTo>
                    <a:pt x="781050" y="822325"/>
                    <a:pt x="759658" y="820764"/>
                    <a:pt x="742950" y="809625"/>
                  </a:cubicBezTo>
                  <a:lnTo>
                    <a:pt x="685800" y="771525"/>
                  </a:lnTo>
                  <a:cubicBezTo>
                    <a:pt x="679450" y="762000"/>
                    <a:pt x="677379" y="747202"/>
                    <a:pt x="666750" y="742950"/>
                  </a:cubicBezTo>
                  <a:cubicBezTo>
                    <a:pt x="657428" y="739221"/>
                    <a:pt x="648020" y="750506"/>
                    <a:pt x="638175" y="752475"/>
                  </a:cubicBezTo>
                  <a:cubicBezTo>
                    <a:pt x="616160" y="756878"/>
                    <a:pt x="593725" y="758825"/>
                    <a:pt x="571500" y="762000"/>
                  </a:cubicBezTo>
                  <a:cubicBezTo>
                    <a:pt x="561975" y="768350"/>
                    <a:pt x="550463" y="772435"/>
                    <a:pt x="542925" y="781050"/>
                  </a:cubicBezTo>
                  <a:cubicBezTo>
                    <a:pt x="527848" y="798280"/>
                    <a:pt x="504825" y="838200"/>
                    <a:pt x="504825" y="838200"/>
                  </a:cubicBezTo>
                  <a:cubicBezTo>
                    <a:pt x="508000" y="850900"/>
                    <a:pt x="521288" y="865199"/>
                    <a:pt x="514350" y="876300"/>
                  </a:cubicBezTo>
                  <a:cubicBezTo>
                    <a:pt x="487048" y="919984"/>
                    <a:pt x="462168" y="907154"/>
                    <a:pt x="428625" y="923925"/>
                  </a:cubicBezTo>
                  <a:cubicBezTo>
                    <a:pt x="418386" y="929045"/>
                    <a:pt x="410910" y="939355"/>
                    <a:pt x="400050" y="942975"/>
                  </a:cubicBezTo>
                  <a:cubicBezTo>
                    <a:pt x="381728" y="949082"/>
                    <a:pt x="361950" y="949325"/>
                    <a:pt x="342900" y="952500"/>
                  </a:cubicBezTo>
                  <a:cubicBezTo>
                    <a:pt x="333375" y="949325"/>
                    <a:pt x="322165" y="949247"/>
                    <a:pt x="314325" y="942975"/>
                  </a:cubicBezTo>
                  <a:cubicBezTo>
                    <a:pt x="305386" y="935824"/>
                    <a:pt x="306135" y="918020"/>
                    <a:pt x="295275" y="914400"/>
                  </a:cubicBezTo>
                  <a:cubicBezTo>
                    <a:pt x="282856" y="910260"/>
                    <a:pt x="269875" y="920750"/>
                    <a:pt x="257175" y="923925"/>
                  </a:cubicBezTo>
                  <a:cubicBezTo>
                    <a:pt x="246904" y="921871"/>
                    <a:pt x="188670" y="916510"/>
                    <a:pt x="180975" y="895350"/>
                  </a:cubicBezTo>
                  <a:cubicBezTo>
                    <a:pt x="171150" y="868330"/>
                    <a:pt x="186886" y="833881"/>
                    <a:pt x="171450" y="809625"/>
                  </a:cubicBezTo>
                  <a:cubicBezTo>
                    <a:pt x="160669" y="792684"/>
                    <a:pt x="114300" y="790575"/>
                    <a:pt x="114300" y="790575"/>
                  </a:cubicBezTo>
                  <a:cubicBezTo>
                    <a:pt x="107950" y="781050"/>
                    <a:pt x="104189" y="769151"/>
                    <a:pt x="95250" y="762000"/>
                  </a:cubicBezTo>
                  <a:cubicBezTo>
                    <a:pt x="87410" y="755728"/>
                    <a:pt x="68095" y="762414"/>
                    <a:pt x="66675" y="752475"/>
                  </a:cubicBezTo>
                  <a:cubicBezTo>
                    <a:pt x="63835" y="732596"/>
                    <a:pt x="79375" y="714375"/>
                    <a:pt x="85725" y="695325"/>
                  </a:cubicBezTo>
                  <a:lnTo>
                    <a:pt x="95250" y="666750"/>
                  </a:lnTo>
                  <a:cubicBezTo>
                    <a:pt x="74468" y="604405"/>
                    <a:pt x="103332" y="665595"/>
                    <a:pt x="57150" y="628650"/>
                  </a:cubicBezTo>
                  <a:cubicBezTo>
                    <a:pt x="48211" y="621499"/>
                    <a:pt x="44450" y="609600"/>
                    <a:pt x="38100" y="600075"/>
                  </a:cubicBezTo>
                  <a:cubicBezTo>
                    <a:pt x="44375" y="581251"/>
                    <a:pt x="49889" y="556354"/>
                    <a:pt x="66675" y="542925"/>
                  </a:cubicBezTo>
                  <a:cubicBezTo>
                    <a:pt x="74515" y="536653"/>
                    <a:pt x="85725" y="536575"/>
                    <a:pt x="95250" y="533400"/>
                  </a:cubicBezTo>
                  <a:cubicBezTo>
                    <a:pt x="101600" y="523875"/>
                    <a:pt x="112418" y="516117"/>
                    <a:pt x="114300" y="504825"/>
                  </a:cubicBezTo>
                  <a:cubicBezTo>
                    <a:pt x="118901" y="477220"/>
                    <a:pt x="92896" y="468330"/>
                    <a:pt x="76200" y="457200"/>
                  </a:cubicBezTo>
                  <a:cubicBezTo>
                    <a:pt x="69850" y="447675"/>
                    <a:pt x="19233" y="482317"/>
                    <a:pt x="57150" y="428625"/>
                  </a:cubicBezTo>
                  <a:cubicBezTo>
                    <a:pt x="40122" y="417982"/>
                    <a:pt x="0" y="409575"/>
                    <a:pt x="0" y="409575"/>
                  </a:cubicBezTo>
                  <a:cubicBezTo>
                    <a:pt x="6350" y="400050"/>
                    <a:pt x="9342" y="387067"/>
                    <a:pt x="19050" y="381000"/>
                  </a:cubicBezTo>
                  <a:cubicBezTo>
                    <a:pt x="55128" y="408457"/>
                    <a:pt x="57150" y="368300"/>
                    <a:pt x="76200" y="361950"/>
                  </a:cubicBezTo>
                  <a:lnTo>
                    <a:pt x="104775" y="352425"/>
                  </a:lnTo>
                  <a:cubicBezTo>
                    <a:pt x="114300" y="349250"/>
                    <a:pt x="124996" y="348469"/>
                    <a:pt x="133350" y="342900"/>
                  </a:cubicBezTo>
                  <a:lnTo>
                    <a:pt x="161925" y="323850"/>
                  </a:lnTo>
                  <a:cubicBezTo>
                    <a:pt x="230438" y="346688"/>
                    <a:pt x="144879" y="318980"/>
                    <a:pt x="228600" y="342900"/>
                  </a:cubicBezTo>
                  <a:cubicBezTo>
                    <a:pt x="238254" y="345658"/>
                    <a:pt x="247650" y="349250"/>
                    <a:pt x="257175" y="352425"/>
                  </a:cubicBezTo>
                  <a:cubicBezTo>
                    <a:pt x="273050" y="349250"/>
                    <a:pt x="289094" y="346827"/>
                    <a:pt x="304800" y="342900"/>
                  </a:cubicBezTo>
                  <a:cubicBezTo>
                    <a:pt x="314540" y="340465"/>
                    <a:pt x="323335" y="333375"/>
                    <a:pt x="333375" y="333375"/>
                  </a:cubicBezTo>
                  <a:cubicBezTo>
                    <a:pt x="353093" y="333375"/>
                    <a:pt x="376078" y="352318"/>
                    <a:pt x="390525" y="361950"/>
                  </a:cubicBezTo>
                  <a:cubicBezTo>
                    <a:pt x="402543" y="398005"/>
                    <a:pt x="442064" y="367098"/>
                    <a:pt x="447675" y="381000"/>
                  </a:cubicBezTo>
                  <a:cubicBezTo>
                    <a:pt x="468518" y="371526"/>
                    <a:pt x="482613" y="348453"/>
                    <a:pt x="504825" y="342900"/>
                  </a:cubicBezTo>
                  <a:cubicBezTo>
                    <a:pt x="517032" y="339848"/>
                    <a:pt x="557835" y="330682"/>
                    <a:pt x="571500" y="323850"/>
                  </a:cubicBezTo>
                  <a:cubicBezTo>
                    <a:pt x="581739" y="318730"/>
                    <a:pt x="589614" y="309449"/>
                    <a:pt x="600075" y="304800"/>
                  </a:cubicBezTo>
                  <a:cubicBezTo>
                    <a:pt x="618425" y="296645"/>
                    <a:pt x="638175" y="292100"/>
                    <a:pt x="657225" y="285750"/>
                  </a:cubicBezTo>
                  <a:cubicBezTo>
                    <a:pt x="666750" y="282575"/>
                    <a:pt x="677446" y="281794"/>
                    <a:pt x="685800" y="276225"/>
                  </a:cubicBezTo>
                  <a:lnTo>
                    <a:pt x="714375" y="257175"/>
                  </a:lnTo>
                  <a:cubicBezTo>
                    <a:pt x="717550" y="247650"/>
                    <a:pt x="715730" y="234436"/>
                    <a:pt x="723900" y="228600"/>
                  </a:cubicBezTo>
                  <a:cubicBezTo>
                    <a:pt x="740240" y="216928"/>
                    <a:pt x="764342" y="220689"/>
                    <a:pt x="781050" y="209550"/>
                  </a:cubicBezTo>
                  <a:cubicBezTo>
                    <a:pt x="823095" y="181520"/>
                    <a:pt x="798400" y="192745"/>
                    <a:pt x="857250" y="180975"/>
                  </a:cubicBezTo>
                  <a:cubicBezTo>
                    <a:pt x="866775" y="184150"/>
                    <a:pt x="875785" y="190500"/>
                    <a:pt x="885825" y="190500"/>
                  </a:cubicBezTo>
                  <a:cubicBezTo>
                    <a:pt x="916497" y="190500"/>
                    <a:pt x="918822" y="174341"/>
                    <a:pt x="933450" y="152400"/>
                  </a:cubicBezTo>
                  <a:cubicBezTo>
                    <a:pt x="922921" y="120813"/>
                    <a:pt x="920750" y="141288"/>
                    <a:pt x="923925" y="133350"/>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12" name="Freeform 11"/>
            <p:cNvSpPr>
              <a:spLocks noChangeArrowheads="1"/>
            </p:cNvSpPr>
            <p:nvPr/>
          </p:nvSpPr>
          <p:spPr bwMode="auto">
            <a:xfrm>
              <a:off x="1437333" y="6299178"/>
              <a:ext cx="1051086" cy="822560"/>
            </a:xfrm>
            <a:custGeom>
              <a:avLst/>
              <a:gdLst>
                <a:gd name="T0" fmla="*/ 0 w 1401284"/>
                <a:gd name="T1" fmla="*/ 0 h 1096776"/>
                <a:gd name="T2" fmla="*/ 1401284 w 1401284"/>
                <a:gd name="T3" fmla="*/ 1096776 h 1096776"/>
              </a:gdLst>
              <a:ahLst/>
              <a:cxnLst/>
              <a:rect l="T0" t="T1" r="T2" b="T3"/>
              <a:pathLst>
                <a:path w="1401284" h="1096776">
                  <a:moveTo>
                    <a:pt x="990600" y="1085664"/>
                  </a:moveTo>
                  <a:cubicBezTo>
                    <a:pt x="990600" y="1096776"/>
                    <a:pt x="1022519" y="1080066"/>
                    <a:pt x="1038225" y="1076139"/>
                  </a:cubicBezTo>
                  <a:cubicBezTo>
                    <a:pt x="1047965" y="1073704"/>
                    <a:pt x="1056896" y="1064963"/>
                    <a:pt x="1066800" y="1066614"/>
                  </a:cubicBezTo>
                  <a:cubicBezTo>
                    <a:pt x="1078092" y="1068496"/>
                    <a:pt x="1085850" y="1079314"/>
                    <a:pt x="1095375" y="1085664"/>
                  </a:cubicBezTo>
                  <a:cubicBezTo>
                    <a:pt x="1127567" y="1077616"/>
                    <a:pt x="1143744" y="1080514"/>
                    <a:pt x="1162050" y="1047564"/>
                  </a:cubicBezTo>
                  <a:cubicBezTo>
                    <a:pt x="1171802" y="1030011"/>
                    <a:pt x="1181100" y="990414"/>
                    <a:pt x="1181100" y="990414"/>
                  </a:cubicBezTo>
                  <a:cubicBezTo>
                    <a:pt x="1190625" y="993589"/>
                    <a:pt x="1199635" y="999939"/>
                    <a:pt x="1209675" y="999939"/>
                  </a:cubicBezTo>
                  <a:cubicBezTo>
                    <a:pt x="1229393" y="999939"/>
                    <a:pt x="1252378" y="980996"/>
                    <a:pt x="1266825" y="971364"/>
                  </a:cubicBezTo>
                  <a:cubicBezTo>
                    <a:pt x="1270000" y="961839"/>
                    <a:pt x="1278001" y="952693"/>
                    <a:pt x="1276350" y="942789"/>
                  </a:cubicBezTo>
                  <a:cubicBezTo>
                    <a:pt x="1274468" y="931497"/>
                    <a:pt x="1262420" y="924453"/>
                    <a:pt x="1257300" y="914214"/>
                  </a:cubicBezTo>
                  <a:cubicBezTo>
                    <a:pt x="1217865" y="835344"/>
                    <a:pt x="1283320" y="938956"/>
                    <a:pt x="1228725" y="857064"/>
                  </a:cubicBezTo>
                  <a:cubicBezTo>
                    <a:pt x="1251966" y="849317"/>
                    <a:pt x="1267411" y="846953"/>
                    <a:pt x="1285875" y="828489"/>
                  </a:cubicBezTo>
                  <a:cubicBezTo>
                    <a:pt x="1293970" y="820394"/>
                    <a:pt x="1298056" y="809072"/>
                    <a:pt x="1304925" y="799914"/>
                  </a:cubicBezTo>
                  <a:cubicBezTo>
                    <a:pt x="1307619" y="796322"/>
                    <a:pt x="1311275" y="793564"/>
                    <a:pt x="1314450" y="790389"/>
                  </a:cubicBezTo>
                  <a:cubicBezTo>
                    <a:pt x="1311275" y="780864"/>
                    <a:pt x="1313279" y="767383"/>
                    <a:pt x="1304925" y="761814"/>
                  </a:cubicBezTo>
                  <a:cubicBezTo>
                    <a:pt x="1235961" y="715838"/>
                    <a:pt x="1269548" y="789033"/>
                    <a:pt x="1247775" y="723714"/>
                  </a:cubicBezTo>
                  <a:cubicBezTo>
                    <a:pt x="1254125" y="714189"/>
                    <a:pt x="1257117" y="701206"/>
                    <a:pt x="1266825" y="695139"/>
                  </a:cubicBezTo>
                  <a:cubicBezTo>
                    <a:pt x="1283853" y="684496"/>
                    <a:pt x="1323975" y="676089"/>
                    <a:pt x="1323975" y="676089"/>
                  </a:cubicBezTo>
                  <a:cubicBezTo>
                    <a:pt x="1327150" y="666564"/>
                    <a:pt x="1334609" y="657493"/>
                    <a:pt x="1333500" y="647514"/>
                  </a:cubicBezTo>
                  <a:cubicBezTo>
                    <a:pt x="1331282" y="627556"/>
                    <a:pt x="1314450" y="590364"/>
                    <a:pt x="1314450" y="590364"/>
                  </a:cubicBezTo>
                  <a:cubicBezTo>
                    <a:pt x="1320800" y="580839"/>
                    <a:pt x="1324561" y="568940"/>
                    <a:pt x="1333500" y="561789"/>
                  </a:cubicBezTo>
                  <a:cubicBezTo>
                    <a:pt x="1341340" y="555517"/>
                    <a:pt x="1353721" y="557833"/>
                    <a:pt x="1362075" y="552264"/>
                  </a:cubicBezTo>
                  <a:cubicBezTo>
                    <a:pt x="1373283" y="544792"/>
                    <a:pt x="1381125" y="533214"/>
                    <a:pt x="1390650" y="523689"/>
                  </a:cubicBezTo>
                  <a:cubicBezTo>
                    <a:pt x="1393825" y="514164"/>
                    <a:pt x="1401284" y="505093"/>
                    <a:pt x="1400175" y="495114"/>
                  </a:cubicBezTo>
                  <a:cubicBezTo>
                    <a:pt x="1393827" y="437985"/>
                    <a:pt x="1388528" y="442899"/>
                    <a:pt x="1352550" y="418914"/>
                  </a:cubicBezTo>
                  <a:cubicBezTo>
                    <a:pt x="1349375" y="409389"/>
                    <a:pt x="1350125" y="397439"/>
                    <a:pt x="1343025" y="390339"/>
                  </a:cubicBezTo>
                  <a:cubicBezTo>
                    <a:pt x="1326836" y="374150"/>
                    <a:pt x="1304925" y="364939"/>
                    <a:pt x="1285875" y="352239"/>
                  </a:cubicBezTo>
                  <a:lnTo>
                    <a:pt x="1257300" y="333189"/>
                  </a:lnTo>
                  <a:cubicBezTo>
                    <a:pt x="1247775" y="326839"/>
                    <a:pt x="1236820" y="322234"/>
                    <a:pt x="1228725" y="314139"/>
                  </a:cubicBezTo>
                  <a:cubicBezTo>
                    <a:pt x="1193050" y="278464"/>
                    <a:pt x="1212929" y="289824"/>
                    <a:pt x="1171575" y="276039"/>
                  </a:cubicBezTo>
                  <a:cubicBezTo>
                    <a:pt x="1165225" y="266514"/>
                    <a:pt x="1152525" y="258912"/>
                    <a:pt x="1152525" y="247464"/>
                  </a:cubicBezTo>
                  <a:cubicBezTo>
                    <a:pt x="1152525" y="227384"/>
                    <a:pt x="1171575" y="190314"/>
                    <a:pt x="1171575" y="190314"/>
                  </a:cubicBezTo>
                  <a:cubicBezTo>
                    <a:pt x="1168400" y="180789"/>
                    <a:pt x="1171575" y="164914"/>
                    <a:pt x="1162050" y="161739"/>
                  </a:cubicBezTo>
                  <a:cubicBezTo>
                    <a:pt x="1093086" y="138751"/>
                    <a:pt x="1126673" y="208008"/>
                    <a:pt x="1104900" y="142689"/>
                  </a:cubicBezTo>
                  <a:cubicBezTo>
                    <a:pt x="1101725" y="120464"/>
                    <a:pt x="1107828" y="94694"/>
                    <a:pt x="1095375" y="76014"/>
                  </a:cubicBezTo>
                  <a:cubicBezTo>
                    <a:pt x="1089806" y="67660"/>
                    <a:pt x="1074640" y="79267"/>
                    <a:pt x="1066800" y="85539"/>
                  </a:cubicBezTo>
                  <a:cubicBezTo>
                    <a:pt x="1057861" y="92690"/>
                    <a:pt x="1054100" y="104589"/>
                    <a:pt x="1047750" y="114114"/>
                  </a:cubicBezTo>
                  <a:cubicBezTo>
                    <a:pt x="1026452" y="108789"/>
                    <a:pt x="966414" y="94815"/>
                    <a:pt x="952500" y="85539"/>
                  </a:cubicBezTo>
                  <a:lnTo>
                    <a:pt x="895350" y="47439"/>
                  </a:lnTo>
                  <a:lnTo>
                    <a:pt x="866775" y="28389"/>
                  </a:lnTo>
                  <a:cubicBezTo>
                    <a:pt x="831586" y="40119"/>
                    <a:pt x="815305" y="47439"/>
                    <a:pt x="771525" y="47439"/>
                  </a:cubicBezTo>
                  <a:cubicBezTo>
                    <a:pt x="745927" y="47439"/>
                    <a:pt x="720725" y="41089"/>
                    <a:pt x="695325" y="37914"/>
                  </a:cubicBezTo>
                  <a:cubicBezTo>
                    <a:pt x="638662" y="19026"/>
                    <a:pt x="642845" y="0"/>
                    <a:pt x="619125" y="47439"/>
                  </a:cubicBezTo>
                  <a:cubicBezTo>
                    <a:pt x="614635" y="56419"/>
                    <a:pt x="612775" y="66489"/>
                    <a:pt x="609600" y="76014"/>
                  </a:cubicBezTo>
                  <a:cubicBezTo>
                    <a:pt x="612775" y="85539"/>
                    <a:pt x="610955" y="98753"/>
                    <a:pt x="619125" y="104589"/>
                  </a:cubicBezTo>
                  <a:cubicBezTo>
                    <a:pt x="635465" y="116261"/>
                    <a:pt x="676275" y="123639"/>
                    <a:pt x="676275" y="123639"/>
                  </a:cubicBezTo>
                  <a:lnTo>
                    <a:pt x="619125" y="142689"/>
                  </a:lnTo>
                  <a:lnTo>
                    <a:pt x="590550" y="152214"/>
                  </a:lnTo>
                  <a:cubicBezTo>
                    <a:pt x="528888" y="131660"/>
                    <a:pt x="537243" y="151378"/>
                    <a:pt x="523875" y="104589"/>
                  </a:cubicBezTo>
                  <a:cubicBezTo>
                    <a:pt x="520279" y="92002"/>
                    <a:pt x="517525" y="79189"/>
                    <a:pt x="514350" y="66489"/>
                  </a:cubicBezTo>
                  <a:cubicBezTo>
                    <a:pt x="440981" y="90945"/>
                    <a:pt x="530422" y="52203"/>
                    <a:pt x="476250" y="114114"/>
                  </a:cubicBezTo>
                  <a:cubicBezTo>
                    <a:pt x="449278" y="144939"/>
                    <a:pt x="423923" y="150606"/>
                    <a:pt x="390525" y="161739"/>
                  </a:cubicBezTo>
                  <a:cubicBezTo>
                    <a:pt x="377825" y="158564"/>
                    <a:pt x="364457" y="157371"/>
                    <a:pt x="352425" y="152214"/>
                  </a:cubicBezTo>
                  <a:cubicBezTo>
                    <a:pt x="341903" y="147705"/>
                    <a:pt x="334089" y="138284"/>
                    <a:pt x="323850" y="133164"/>
                  </a:cubicBezTo>
                  <a:cubicBezTo>
                    <a:pt x="314870" y="128674"/>
                    <a:pt x="304800" y="126814"/>
                    <a:pt x="295275" y="123639"/>
                  </a:cubicBezTo>
                  <a:cubicBezTo>
                    <a:pt x="282575" y="126814"/>
                    <a:pt x="270266" y="133164"/>
                    <a:pt x="257175" y="133164"/>
                  </a:cubicBezTo>
                  <a:cubicBezTo>
                    <a:pt x="247135" y="133164"/>
                    <a:pt x="237922" y="119910"/>
                    <a:pt x="228600" y="123639"/>
                  </a:cubicBezTo>
                  <a:cubicBezTo>
                    <a:pt x="217971" y="127891"/>
                    <a:pt x="219258" y="146147"/>
                    <a:pt x="209550" y="152214"/>
                  </a:cubicBezTo>
                  <a:cubicBezTo>
                    <a:pt x="192522" y="162857"/>
                    <a:pt x="171450" y="164914"/>
                    <a:pt x="152400" y="171264"/>
                  </a:cubicBezTo>
                  <a:lnTo>
                    <a:pt x="95250" y="190314"/>
                  </a:lnTo>
                  <a:lnTo>
                    <a:pt x="66675" y="199839"/>
                  </a:lnTo>
                  <a:cubicBezTo>
                    <a:pt x="57150" y="209364"/>
                    <a:pt x="49308" y="220942"/>
                    <a:pt x="38100" y="228414"/>
                  </a:cubicBezTo>
                  <a:cubicBezTo>
                    <a:pt x="29746" y="233983"/>
                    <a:pt x="16625" y="230839"/>
                    <a:pt x="9525" y="237939"/>
                  </a:cubicBezTo>
                  <a:cubicBezTo>
                    <a:pt x="2425" y="245039"/>
                    <a:pt x="3175" y="256989"/>
                    <a:pt x="0" y="266514"/>
                  </a:cubicBezTo>
                  <a:cubicBezTo>
                    <a:pt x="9525" y="272864"/>
                    <a:pt x="18114" y="280915"/>
                    <a:pt x="28575" y="285564"/>
                  </a:cubicBezTo>
                  <a:cubicBezTo>
                    <a:pt x="46925" y="293719"/>
                    <a:pt x="85725" y="304614"/>
                    <a:pt x="85725" y="304614"/>
                  </a:cubicBezTo>
                  <a:cubicBezTo>
                    <a:pt x="90537" y="333485"/>
                    <a:pt x="94587" y="405993"/>
                    <a:pt x="133350" y="418914"/>
                  </a:cubicBezTo>
                  <a:lnTo>
                    <a:pt x="161925" y="428439"/>
                  </a:lnTo>
                  <a:cubicBezTo>
                    <a:pt x="186580" y="453094"/>
                    <a:pt x="213471" y="483721"/>
                    <a:pt x="247650" y="495114"/>
                  </a:cubicBezTo>
                  <a:lnTo>
                    <a:pt x="276225" y="504639"/>
                  </a:lnTo>
                  <a:cubicBezTo>
                    <a:pt x="285750" y="501464"/>
                    <a:pt x="295146" y="497872"/>
                    <a:pt x="304800" y="495114"/>
                  </a:cubicBezTo>
                  <a:cubicBezTo>
                    <a:pt x="319042" y="491045"/>
                    <a:pt x="356250" y="483677"/>
                    <a:pt x="371475" y="476064"/>
                  </a:cubicBezTo>
                  <a:cubicBezTo>
                    <a:pt x="381714" y="470944"/>
                    <a:pt x="390525" y="463364"/>
                    <a:pt x="400050" y="457014"/>
                  </a:cubicBezTo>
                  <a:cubicBezTo>
                    <a:pt x="409575" y="460189"/>
                    <a:pt x="418646" y="467648"/>
                    <a:pt x="428625" y="466539"/>
                  </a:cubicBezTo>
                  <a:cubicBezTo>
                    <a:pt x="469431" y="462005"/>
                    <a:pt x="484576" y="448289"/>
                    <a:pt x="514350" y="428439"/>
                  </a:cubicBezTo>
                  <a:cubicBezTo>
                    <a:pt x="508000" y="447489"/>
                    <a:pt x="512008" y="474450"/>
                    <a:pt x="495300" y="485589"/>
                  </a:cubicBezTo>
                  <a:cubicBezTo>
                    <a:pt x="476250" y="498289"/>
                    <a:pt x="460734" y="519925"/>
                    <a:pt x="438150" y="523689"/>
                  </a:cubicBezTo>
                  <a:cubicBezTo>
                    <a:pt x="371096" y="534865"/>
                    <a:pt x="399322" y="527107"/>
                    <a:pt x="352425" y="542739"/>
                  </a:cubicBezTo>
                  <a:cubicBezTo>
                    <a:pt x="342900" y="539564"/>
                    <a:pt x="333890" y="533214"/>
                    <a:pt x="323850" y="533214"/>
                  </a:cubicBezTo>
                  <a:cubicBezTo>
                    <a:pt x="294277" y="533214"/>
                    <a:pt x="292384" y="552157"/>
                    <a:pt x="266700" y="561789"/>
                  </a:cubicBezTo>
                  <a:cubicBezTo>
                    <a:pt x="251541" y="567473"/>
                    <a:pt x="234694" y="567054"/>
                    <a:pt x="219075" y="571314"/>
                  </a:cubicBezTo>
                  <a:cubicBezTo>
                    <a:pt x="199702" y="576598"/>
                    <a:pt x="161925" y="590364"/>
                    <a:pt x="161925" y="590364"/>
                  </a:cubicBezTo>
                  <a:cubicBezTo>
                    <a:pt x="166704" y="609481"/>
                    <a:pt x="170766" y="643883"/>
                    <a:pt x="190500" y="657039"/>
                  </a:cubicBezTo>
                  <a:cubicBezTo>
                    <a:pt x="201392" y="664301"/>
                    <a:pt x="215900" y="663389"/>
                    <a:pt x="228600" y="666564"/>
                  </a:cubicBezTo>
                  <a:cubicBezTo>
                    <a:pt x="238125" y="672914"/>
                    <a:pt x="250024" y="676675"/>
                    <a:pt x="257175" y="685614"/>
                  </a:cubicBezTo>
                  <a:cubicBezTo>
                    <a:pt x="263447" y="693454"/>
                    <a:pt x="262210" y="705209"/>
                    <a:pt x="266700" y="714189"/>
                  </a:cubicBezTo>
                  <a:cubicBezTo>
                    <a:pt x="271820" y="724428"/>
                    <a:pt x="278421" y="733970"/>
                    <a:pt x="285750" y="742764"/>
                  </a:cubicBezTo>
                  <a:cubicBezTo>
                    <a:pt x="294374" y="753112"/>
                    <a:pt x="305701" y="760991"/>
                    <a:pt x="314325" y="771339"/>
                  </a:cubicBezTo>
                  <a:cubicBezTo>
                    <a:pt x="354013" y="818964"/>
                    <a:pt x="309563" y="784039"/>
                    <a:pt x="361950" y="818964"/>
                  </a:cubicBezTo>
                  <a:cubicBezTo>
                    <a:pt x="368300" y="828489"/>
                    <a:pt x="375880" y="837300"/>
                    <a:pt x="381000" y="847539"/>
                  </a:cubicBezTo>
                  <a:cubicBezTo>
                    <a:pt x="392504" y="870546"/>
                    <a:pt x="386827" y="886491"/>
                    <a:pt x="409575" y="904689"/>
                  </a:cubicBezTo>
                  <a:cubicBezTo>
                    <a:pt x="421916" y="914562"/>
                    <a:pt x="494715" y="923642"/>
                    <a:pt x="495300" y="923739"/>
                  </a:cubicBezTo>
                  <a:cubicBezTo>
                    <a:pt x="501650" y="933264"/>
                    <a:pt x="504642" y="946247"/>
                    <a:pt x="514350" y="952314"/>
                  </a:cubicBezTo>
                  <a:cubicBezTo>
                    <a:pt x="531378" y="962957"/>
                    <a:pt x="571500" y="971364"/>
                    <a:pt x="571500" y="971364"/>
                  </a:cubicBezTo>
                  <a:cubicBezTo>
                    <a:pt x="583707" y="968312"/>
                    <a:pt x="624510" y="959146"/>
                    <a:pt x="638175" y="952314"/>
                  </a:cubicBezTo>
                  <a:cubicBezTo>
                    <a:pt x="648414" y="947194"/>
                    <a:pt x="656289" y="937913"/>
                    <a:pt x="666750" y="933264"/>
                  </a:cubicBezTo>
                  <a:cubicBezTo>
                    <a:pt x="685100" y="925109"/>
                    <a:pt x="704850" y="920564"/>
                    <a:pt x="723900" y="914214"/>
                  </a:cubicBezTo>
                  <a:lnTo>
                    <a:pt x="781050" y="895164"/>
                  </a:lnTo>
                  <a:cubicBezTo>
                    <a:pt x="790575" y="891989"/>
                    <a:pt x="801271" y="891208"/>
                    <a:pt x="809625" y="885639"/>
                  </a:cubicBezTo>
                  <a:lnTo>
                    <a:pt x="866775" y="847539"/>
                  </a:lnTo>
                  <a:cubicBezTo>
                    <a:pt x="879618" y="828274"/>
                    <a:pt x="892533" y="814332"/>
                    <a:pt x="895350" y="790389"/>
                  </a:cubicBezTo>
                  <a:cubicBezTo>
                    <a:pt x="900557" y="746131"/>
                    <a:pt x="899668" y="701297"/>
                    <a:pt x="904875" y="657039"/>
                  </a:cubicBezTo>
                  <a:cubicBezTo>
                    <a:pt x="906048" y="647068"/>
                    <a:pt x="908128" y="636304"/>
                    <a:pt x="914400" y="628464"/>
                  </a:cubicBezTo>
                  <a:cubicBezTo>
                    <a:pt x="927829" y="611678"/>
                    <a:pt x="952726" y="606164"/>
                    <a:pt x="971550" y="599889"/>
                  </a:cubicBezTo>
                  <a:cubicBezTo>
                    <a:pt x="964735" y="647591"/>
                    <a:pt x="953078" y="658196"/>
                    <a:pt x="971550" y="695139"/>
                  </a:cubicBezTo>
                  <a:cubicBezTo>
                    <a:pt x="976670" y="705378"/>
                    <a:pt x="984250" y="714189"/>
                    <a:pt x="990600" y="723714"/>
                  </a:cubicBezTo>
                  <a:cubicBezTo>
                    <a:pt x="987425" y="733239"/>
                    <a:pt x="979966" y="742310"/>
                    <a:pt x="981075" y="752289"/>
                  </a:cubicBezTo>
                  <a:cubicBezTo>
                    <a:pt x="983293" y="772247"/>
                    <a:pt x="1000125" y="809439"/>
                    <a:pt x="1000125" y="809439"/>
                  </a:cubicBezTo>
                  <a:cubicBezTo>
                    <a:pt x="996950" y="818964"/>
                    <a:pt x="990600" y="827974"/>
                    <a:pt x="990600" y="838014"/>
                  </a:cubicBezTo>
                  <a:cubicBezTo>
                    <a:pt x="990600" y="846459"/>
                    <a:pt x="1002134" y="900685"/>
                    <a:pt x="1009650" y="914214"/>
                  </a:cubicBezTo>
                  <a:cubicBezTo>
                    <a:pt x="1020769" y="934228"/>
                    <a:pt x="1047750" y="971364"/>
                    <a:pt x="1047750" y="971364"/>
                  </a:cubicBezTo>
                  <a:cubicBezTo>
                    <a:pt x="1044575" y="984064"/>
                    <a:pt x="1044079" y="997755"/>
                    <a:pt x="1038225" y="1009464"/>
                  </a:cubicBezTo>
                  <a:cubicBezTo>
                    <a:pt x="1027986" y="1029942"/>
                    <a:pt x="990600" y="1074552"/>
                    <a:pt x="990600" y="1085664"/>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13" name="Freeform 12"/>
            <p:cNvSpPr>
              <a:spLocks noChangeArrowheads="1"/>
            </p:cNvSpPr>
            <p:nvPr/>
          </p:nvSpPr>
          <p:spPr bwMode="auto">
            <a:xfrm>
              <a:off x="1667789" y="5269674"/>
              <a:ext cx="1400194" cy="1357968"/>
            </a:xfrm>
            <a:custGeom>
              <a:avLst/>
              <a:gdLst>
                <a:gd name="T0" fmla="*/ 0 w 1866708"/>
                <a:gd name="T1" fmla="*/ 0 h 1810671"/>
                <a:gd name="T2" fmla="*/ 1866708 w 1866708"/>
                <a:gd name="T3" fmla="*/ 1810671 h 1810671"/>
              </a:gdLst>
              <a:ahLst/>
              <a:cxnLst/>
              <a:rect l="T0" t="T1" r="T2" b="T3"/>
              <a:pathLst>
                <a:path w="1866708" h="1810671">
                  <a:moveTo>
                    <a:pt x="959588" y="29496"/>
                  </a:moveTo>
                  <a:cubicBezTo>
                    <a:pt x="961175" y="32671"/>
                    <a:pt x="945573" y="49091"/>
                    <a:pt x="950063" y="58071"/>
                  </a:cubicBezTo>
                  <a:cubicBezTo>
                    <a:pt x="954553" y="67051"/>
                    <a:pt x="970798" y="61324"/>
                    <a:pt x="978638" y="67596"/>
                  </a:cubicBezTo>
                  <a:cubicBezTo>
                    <a:pt x="1001386" y="85794"/>
                    <a:pt x="995709" y="101739"/>
                    <a:pt x="1007213" y="124746"/>
                  </a:cubicBezTo>
                  <a:cubicBezTo>
                    <a:pt x="1012333" y="134985"/>
                    <a:pt x="1016555" y="147254"/>
                    <a:pt x="1026263" y="153321"/>
                  </a:cubicBezTo>
                  <a:cubicBezTo>
                    <a:pt x="1043291" y="163964"/>
                    <a:pt x="1064363" y="166021"/>
                    <a:pt x="1083413" y="172371"/>
                  </a:cubicBezTo>
                  <a:lnTo>
                    <a:pt x="1111988" y="181896"/>
                  </a:lnTo>
                  <a:cubicBezTo>
                    <a:pt x="1115149" y="191378"/>
                    <a:pt x="1131021" y="255704"/>
                    <a:pt x="1150088" y="267621"/>
                  </a:cubicBezTo>
                  <a:cubicBezTo>
                    <a:pt x="1167116" y="278264"/>
                    <a:pt x="1188188" y="280321"/>
                    <a:pt x="1207238" y="286671"/>
                  </a:cubicBezTo>
                  <a:cubicBezTo>
                    <a:pt x="1216763" y="289846"/>
                    <a:pt x="1227459" y="290627"/>
                    <a:pt x="1235813" y="296196"/>
                  </a:cubicBezTo>
                  <a:lnTo>
                    <a:pt x="1264388" y="315246"/>
                  </a:lnTo>
                  <a:cubicBezTo>
                    <a:pt x="1315188" y="391446"/>
                    <a:pt x="1248513" y="299371"/>
                    <a:pt x="1312013" y="362871"/>
                  </a:cubicBezTo>
                  <a:cubicBezTo>
                    <a:pt x="1320108" y="370966"/>
                    <a:pt x="1324713" y="381921"/>
                    <a:pt x="1331063" y="391446"/>
                  </a:cubicBezTo>
                  <a:cubicBezTo>
                    <a:pt x="1334238" y="410496"/>
                    <a:pt x="1331951" y="431322"/>
                    <a:pt x="1340588" y="448596"/>
                  </a:cubicBezTo>
                  <a:cubicBezTo>
                    <a:pt x="1345708" y="458835"/>
                    <a:pt x="1362012" y="458707"/>
                    <a:pt x="1369163" y="467646"/>
                  </a:cubicBezTo>
                  <a:cubicBezTo>
                    <a:pt x="1375435" y="475486"/>
                    <a:pt x="1371588" y="489121"/>
                    <a:pt x="1378688" y="496221"/>
                  </a:cubicBezTo>
                  <a:cubicBezTo>
                    <a:pt x="1411440" y="528973"/>
                    <a:pt x="1428480" y="531868"/>
                    <a:pt x="1464413" y="543846"/>
                  </a:cubicBezTo>
                  <a:cubicBezTo>
                    <a:pt x="1420744" y="609350"/>
                    <a:pt x="1433553" y="579276"/>
                    <a:pt x="1416788" y="629571"/>
                  </a:cubicBezTo>
                  <a:cubicBezTo>
                    <a:pt x="1419963" y="639096"/>
                    <a:pt x="1416374" y="656726"/>
                    <a:pt x="1426313" y="658146"/>
                  </a:cubicBezTo>
                  <a:cubicBezTo>
                    <a:pt x="1446192" y="660986"/>
                    <a:pt x="1483463" y="639096"/>
                    <a:pt x="1483463" y="639096"/>
                  </a:cubicBezTo>
                  <a:cubicBezTo>
                    <a:pt x="1489813" y="629571"/>
                    <a:pt x="1497393" y="620760"/>
                    <a:pt x="1502513" y="610521"/>
                  </a:cubicBezTo>
                  <a:cubicBezTo>
                    <a:pt x="1507003" y="601541"/>
                    <a:pt x="1502298" y="584381"/>
                    <a:pt x="1512038" y="581946"/>
                  </a:cubicBezTo>
                  <a:cubicBezTo>
                    <a:pt x="1523144" y="579170"/>
                    <a:pt x="1531088" y="594646"/>
                    <a:pt x="1540613" y="600996"/>
                  </a:cubicBezTo>
                  <a:cubicBezTo>
                    <a:pt x="1566013" y="597821"/>
                    <a:pt x="1593046" y="600978"/>
                    <a:pt x="1616813" y="591471"/>
                  </a:cubicBezTo>
                  <a:cubicBezTo>
                    <a:pt x="1627442" y="587219"/>
                    <a:pt x="1630183" y="552957"/>
                    <a:pt x="1635863" y="562896"/>
                  </a:cubicBezTo>
                  <a:cubicBezTo>
                    <a:pt x="1705102" y="684065"/>
                    <a:pt x="1609243" y="642923"/>
                    <a:pt x="1683488" y="667671"/>
                  </a:cubicBezTo>
                  <a:cubicBezTo>
                    <a:pt x="1702051" y="661483"/>
                    <a:pt x="1735542" y="640854"/>
                    <a:pt x="1740638" y="686721"/>
                  </a:cubicBezTo>
                  <a:cubicBezTo>
                    <a:pt x="1742856" y="706679"/>
                    <a:pt x="1721588" y="743871"/>
                    <a:pt x="1721588" y="743871"/>
                  </a:cubicBezTo>
                  <a:cubicBezTo>
                    <a:pt x="1724763" y="753396"/>
                    <a:pt x="1724841" y="764606"/>
                    <a:pt x="1731113" y="772446"/>
                  </a:cubicBezTo>
                  <a:cubicBezTo>
                    <a:pt x="1744542" y="789232"/>
                    <a:pt x="1769439" y="794746"/>
                    <a:pt x="1788263" y="801021"/>
                  </a:cubicBezTo>
                  <a:cubicBezTo>
                    <a:pt x="1785088" y="813721"/>
                    <a:pt x="1782500" y="826582"/>
                    <a:pt x="1778738" y="839121"/>
                  </a:cubicBezTo>
                  <a:cubicBezTo>
                    <a:pt x="1772968" y="858355"/>
                    <a:pt x="1759688" y="896271"/>
                    <a:pt x="1759688" y="896271"/>
                  </a:cubicBezTo>
                  <a:cubicBezTo>
                    <a:pt x="1835888" y="921671"/>
                    <a:pt x="1740638" y="896271"/>
                    <a:pt x="1816838" y="896271"/>
                  </a:cubicBezTo>
                  <a:cubicBezTo>
                    <a:pt x="1826878" y="896271"/>
                    <a:pt x="1835888" y="902621"/>
                    <a:pt x="1845413" y="905796"/>
                  </a:cubicBezTo>
                  <a:cubicBezTo>
                    <a:pt x="1851763" y="915321"/>
                    <a:pt x="1866708" y="923146"/>
                    <a:pt x="1864463" y="934371"/>
                  </a:cubicBezTo>
                  <a:cubicBezTo>
                    <a:pt x="1862218" y="945596"/>
                    <a:pt x="1846349" y="948772"/>
                    <a:pt x="1835888" y="953421"/>
                  </a:cubicBezTo>
                  <a:cubicBezTo>
                    <a:pt x="1817538" y="961576"/>
                    <a:pt x="1778738" y="972471"/>
                    <a:pt x="1778738" y="972471"/>
                  </a:cubicBezTo>
                  <a:cubicBezTo>
                    <a:pt x="1772388" y="981996"/>
                    <a:pt x="1767783" y="992951"/>
                    <a:pt x="1759688" y="1001046"/>
                  </a:cubicBezTo>
                  <a:cubicBezTo>
                    <a:pt x="1741224" y="1019510"/>
                    <a:pt x="1725779" y="1021874"/>
                    <a:pt x="1702538" y="1029621"/>
                  </a:cubicBezTo>
                  <a:cubicBezTo>
                    <a:pt x="1655240" y="1100567"/>
                    <a:pt x="1716029" y="1013432"/>
                    <a:pt x="1654913" y="1086771"/>
                  </a:cubicBezTo>
                  <a:cubicBezTo>
                    <a:pt x="1632949" y="1113127"/>
                    <a:pt x="1638594" y="1123050"/>
                    <a:pt x="1607288" y="1143921"/>
                  </a:cubicBezTo>
                  <a:cubicBezTo>
                    <a:pt x="1598934" y="1149490"/>
                    <a:pt x="1587693" y="1148956"/>
                    <a:pt x="1578713" y="1153446"/>
                  </a:cubicBezTo>
                  <a:cubicBezTo>
                    <a:pt x="1568474" y="1158566"/>
                    <a:pt x="1559663" y="1166146"/>
                    <a:pt x="1550138" y="1172496"/>
                  </a:cubicBezTo>
                  <a:cubicBezTo>
                    <a:pt x="1546963" y="1182021"/>
                    <a:pt x="1536884" y="1191749"/>
                    <a:pt x="1540613" y="1201071"/>
                  </a:cubicBezTo>
                  <a:cubicBezTo>
                    <a:pt x="1544865" y="1211700"/>
                    <a:pt x="1561093" y="1212026"/>
                    <a:pt x="1569188" y="1220121"/>
                  </a:cubicBezTo>
                  <a:cubicBezTo>
                    <a:pt x="1632688" y="1283621"/>
                    <a:pt x="1540613" y="1216946"/>
                    <a:pt x="1616813" y="1267746"/>
                  </a:cubicBezTo>
                  <a:cubicBezTo>
                    <a:pt x="1683488" y="1245521"/>
                    <a:pt x="1654913" y="1242346"/>
                    <a:pt x="1702538" y="1258221"/>
                  </a:cubicBezTo>
                  <a:cubicBezTo>
                    <a:pt x="1712200" y="1287208"/>
                    <a:pt x="1721603" y="1290355"/>
                    <a:pt x="1693013" y="1315371"/>
                  </a:cubicBezTo>
                  <a:cubicBezTo>
                    <a:pt x="1675783" y="1330448"/>
                    <a:pt x="1635863" y="1353471"/>
                    <a:pt x="1635863" y="1353471"/>
                  </a:cubicBezTo>
                  <a:cubicBezTo>
                    <a:pt x="1632688" y="1362996"/>
                    <a:pt x="1626338" y="1372006"/>
                    <a:pt x="1626338" y="1382046"/>
                  </a:cubicBezTo>
                  <a:cubicBezTo>
                    <a:pt x="1626338" y="1412800"/>
                    <a:pt x="1639359" y="1425390"/>
                    <a:pt x="1654913" y="1448721"/>
                  </a:cubicBezTo>
                  <a:cubicBezTo>
                    <a:pt x="1648563" y="1458246"/>
                    <a:pt x="1640512" y="1466835"/>
                    <a:pt x="1635863" y="1477296"/>
                  </a:cubicBezTo>
                  <a:cubicBezTo>
                    <a:pt x="1627708" y="1495646"/>
                    <a:pt x="1635863" y="1528096"/>
                    <a:pt x="1616813" y="1534446"/>
                  </a:cubicBezTo>
                  <a:lnTo>
                    <a:pt x="1588238" y="1543971"/>
                  </a:lnTo>
                  <a:cubicBezTo>
                    <a:pt x="1578713" y="1540796"/>
                    <a:pt x="1569403" y="1536881"/>
                    <a:pt x="1559663" y="1534446"/>
                  </a:cubicBezTo>
                  <a:lnTo>
                    <a:pt x="1483463" y="1515396"/>
                  </a:lnTo>
                  <a:cubicBezTo>
                    <a:pt x="1470763" y="1534446"/>
                    <a:pt x="1464413" y="1559846"/>
                    <a:pt x="1445363" y="1572546"/>
                  </a:cubicBezTo>
                  <a:lnTo>
                    <a:pt x="1388213" y="1610646"/>
                  </a:lnTo>
                  <a:cubicBezTo>
                    <a:pt x="1385038" y="1601121"/>
                    <a:pt x="1378688" y="1592111"/>
                    <a:pt x="1378688" y="1582071"/>
                  </a:cubicBezTo>
                  <a:cubicBezTo>
                    <a:pt x="1378688" y="1498599"/>
                    <a:pt x="1380110" y="1501604"/>
                    <a:pt x="1397738" y="1448721"/>
                  </a:cubicBezTo>
                  <a:cubicBezTo>
                    <a:pt x="1390481" y="1426950"/>
                    <a:pt x="1392295" y="1406992"/>
                    <a:pt x="1359638" y="1410621"/>
                  </a:cubicBezTo>
                  <a:cubicBezTo>
                    <a:pt x="1339680" y="1412839"/>
                    <a:pt x="1302488" y="1429671"/>
                    <a:pt x="1302488" y="1429671"/>
                  </a:cubicBezTo>
                  <a:cubicBezTo>
                    <a:pt x="1292963" y="1423321"/>
                    <a:pt x="1282008" y="1418716"/>
                    <a:pt x="1273913" y="1410621"/>
                  </a:cubicBezTo>
                  <a:cubicBezTo>
                    <a:pt x="1255449" y="1392157"/>
                    <a:pt x="1253085" y="1376712"/>
                    <a:pt x="1245338" y="1353471"/>
                  </a:cubicBezTo>
                  <a:cubicBezTo>
                    <a:pt x="1231814" y="1357979"/>
                    <a:pt x="1195574" y="1367274"/>
                    <a:pt x="1188188" y="1382046"/>
                  </a:cubicBezTo>
                  <a:cubicBezTo>
                    <a:pt x="1179551" y="1399320"/>
                    <a:pt x="1182118" y="1420195"/>
                    <a:pt x="1178663" y="1439196"/>
                  </a:cubicBezTo>
                  <a:cubicBezTo>
                    <a:pt x="1169468" y="1489770"/>
                    <a:pt x="1172832" y="1475739"/>
                    <a:pt x="1159613" y="1515396"/>
                  </a:cubicBezTo>
                  <a:cubicBezTo>
                    <a:pt x="1189906" y="1560835"/>
                    <a:pt x="1211882" y="1563258"/>
                    <a:pt x="1188188" y="1610646"/>
                  </a:cubicBezTo>
                  <a:cubicBezTo>
                    <a:pt x="1177949" y="1631124"/>
                    <a:pt x="1150088" y="1667796"/>
                    <a:pt x="1150088" y="1667796"/>
                  </a:cubicBezTo>
                  <a:cubicBezTo>
                    <a:pt x="1147846" y="1676764"/>
                    <a:pt x="1137249" y="1723291"/>
                    <a:pt x="1131038" y="1734471"/>
                  </a:cubicBezTo>
                  <a:cubicBezTo>
                    <a:pt x="1119919" y="1754485"/>
                    <a:pt x="1111988" y="1778921"/>
                    <a:pt x="1092938" y="1791621"/>
                  </a:cubicBezTo>
                  <a:lnTo>
                    <a:pt x="1064363" y="1810671"/>
                  </a:lnTo>
                  <a:cubicBezTo>
                    <a:pt x="1054838" y="1801146"/>
                    <a:pt x="1044412" y="1792444"/>
                    <a:pt x="1035788" y="1782096"/>
                  </a:cubicBezTo>
                  <a:cubicBezTo>
                    <a:pt x="1028459" y="1773302"/>
                    <a:pt x="1025353" y="1761059"/>
                    <a:pt x="1016738" y="1753521"/>
                  </a:cubicBezTo>
                  <a:cubicBezTo>
                    <a:pt x="936651" y="1683445"/>
                    <a:pt x="987703" y="1734241"/>
                    <a:pt x="931013" y="1705896"/>
                  </a:cubicBezTo>
                  <a:cubicBezTo>
                    <a:pt x="857155" y="1668967"/>
                    <a:pt x="945687" y="1701262"/>
                    <a:pt x="873863" y="1677321"/>
                  </a:cubicBezTo>
                  <a:cubicBezTo>
                    <a:pt x="860381" y="1663839"/>
                    <a:pt x="833006" y="1644983"/>
                    <a:pt x="835763" y="1620171"/>
                  </a:cubicBezTo>
                  <a:cubicBezTo>
                    <a:pt x="837981" y="1600213"/>
                    <a:pt x="854813" y="1563021"/>
                    <a:pt x="854813" y="1563021"/>
                  </a:cubicBezTo>
                  <a:cubicBezTo>
                    <a:pt x="848463" y="1553496"/>
                    <a:pt x="846392" y="1538698"/>
                    <a:pt x="835763" y="1534446"/>
                  </a:cubicBezTo>
                  <a:cubicBezTo>
                    <a:pt x="826441" y="1530717"/>
                    <a:pt x="814288" y="1551071"/>
                    <a:pt x="807188" y="1543971"/>
                  </a:cubicBezTo>
                  <a:cubicBezTo>
                    <a:pt x="792989" y="1529772"/>
                    <a:pt x="794488" y="1505871"/>
                    <a:pt x="788138" y="1486821"/>
                  </a:cubicBezTo>
                  <a:lnTo>
                    <a:pt x="778613" y="1458246"/>
                  </a:lnTo>
                  <a:cubicBezTo>
                    <a:pt x="769088" y="1461421"/>
                    <a:pt x="757138" y="1460671"/>
                    <a:pt x="750038" y="1467771"/>
                  </a:cubicBezTo>
                  <a:cubicBezTo>
                    <a:pt x="742938" y="1474871"/>
                    <a:pt x="750452" y="1494926"/>
                    <a:pt x="740513" y="1496346"/>
                  </a:cubicBezTo>
                  <a:cubicBezTo>
                    <a:pt x="702287" y="1501807"/>
                    <a:pt x="683091" y="1472398"/>
                    <a:pt x="654788" y="1458246"/>
                  </a:cubicBezTo>
                  <a:cubicBezTo>
                    <a:pt x="645808" y="1453756"/>
                    <a:pt x="635193" y="1453211"/>
                    <a:pt x="626213" y="1448721"/>
                  </a:cubicBezTo>
                  <a:cubicBezTo>
                    <a:pt x="552355" y="1411792"/>
                    <a:pt x="640887" y="1444087"/>
                    <a:pt x="569063" y="1420146"/>
                  </a:cubicBezTo>
                  <a:cubicBezTo>
                    <a:pt x="553188" y="1423321"/>
                    <a:pt x="537627" y="1429671"/>
                    <a:pt x="521438" y="1429671"/>
                  </a:cubicBezTo>
                  <a:cubicBezTo>
                    <a:pt x="416861" y="1429671"/>
                    <a:pt x="419033" y="1427882"/>
                    <a:pt x="349988" y="1410621"/>
                  </a:cubicBezTo>
                  <a:cubicBezTo>
                    <a:pt x="332808" y="1393441"/>
                    <a:pt x="311888" y="1381040"/>
                    <a:pt x="311888" y="1353471"/>
                  </a:cubicBezTo>
                  <a:cubicBezTo>
                    <a:pt x="311888" y="1343431"/>
                    <a:pt x="318238" y="1334421"/>
                    <a:pt x="321413" y="1324896"/>
                  </a:cubicBezTo>
                  <a:cubicBezTo>
                    <a:pt x="313666" y="1301655"/>
                    <a:pt x="311302" y="1286210"/>
                    <a:pt x="292838" y="1267746"/>
                  </a:cubicBezTo>
                  <a:cubicBezTo>
                    <a:pt x="284743" y="1259651"/>
                    <a:pt x="273788" y="1255046"/>
                    <a:pt x="264263" y="1248696"/>
                  </a:cubicBezTo>
                  <a:cubicBezTo>
                    <a:pt x="267438" y="1226471"/>
                    <a:pt x="273788" y="1204472"/>
                    <a:pt x="273788" y="1182021"/>
                  </a:cubicBezTo>
                  <a:cubicBezTo>
                    <a:pt x="273788" y="1168930"/>
                    <a:pt x="276850" y="1147517"/>
                    <a:pt x="264263" y="1143921"/>
                  </a:cubicBezTo>
                  <a:cubicBezTo>
                    <a:pt x="244955" y="1138404"/>
                    <a:pt x="207113" y="1162971"/>
                    <a:pt x="207113" y="1162971"/>
                  </a:cubicBezTo>
                  <a:cubicBezTo>
                    <a:pt x="197588" y="1153446"/>
                    <a:pt x="187162" y="1144744"/>
                    <a:pt x="178538" y="1134396"/>
                  </a:cubicBezTo>
                  <a:cubicBezTo>
                    <a:pt x="171209" y="1125602"/>
                    <a:pt x="167583" y="1113916"/>
                    <a:pt x="159488" y="1105821"/>
                  </a:cubicBezTo>
                  <a:cubicBezTo>
                    <a:pt x="151393" y="1097726"/>
                    <a:pt x="140438" y="1093121"/>
                    <a:pt x="130913" y="1086771"/>
                  </a:cubicBezTo>
                  <a:cubicBezTo>
                    <a:pt x="134088" y="1064546"/>
                    <a:pt x="136747" y="1042241"/>
                    <a:pt x="140438" y="1020096"/>
                  </a:cubicBezTo>
                  <a:cubicBezTo>
                    <a:pt x="145373" y="990487"/>
                    <a:pt x="159677" y="963230"/>
                    <a:pt x="140438" y="934371"/>
                  </a:cubicBezTo>
                  <a:cubicBezTo>
                    <a:pt x="134088" y="924846"/>
                    <a:pt x="121388" y="921671"/>
                    <a:pt x="111863" y="915321"/>
                  </a:cubicBezTo>
                  <a:cubicBezTo>
                    <a:pt x="102338" y="918496"/>
                    <a:pt x="93192" y="926497"/>
                    <a:pt x="83288" y="924846"/>
                  </a:cubicBezTo>
                  <a:cubicBezTo>
                    <a:pt x="71996" y="922964"/>
                    <a:pt x="64952" y="910916"/>
                    <a:pt x="54713" y="905796"/>
                  </a:cubicBezTo>
                  <a:cubicBezTo>
                    <a:pt x="45733" y="901306"/>
                    <a:pt x="35663" y="899446"/>
                    <a:pt x="26138" y="896271"/>
                  </a:cubicBezTo>
                  <a:cubicBezTo>
                    <a:pt x="19788" y="886746"/>
                    <a:pt x="8508" y="879055"/>
                    <a:pt x="7088" y="867696"/>
                  </a:cubicBezTo>
                  <a:cubicBezTo>
                    <a:pt x="0" y="810993"/>
                    <a:pt x="37477" y="814629"/>
                    <a:pt x="54713" y="762921"/>
                  </a:cubicBezTo>
                  <a:cubicBezTo>
                    <a:pt x="61063" y="743871"/>
                    <a:pt x="62624" y="722479"/>
                    <a:pt x="73763" y="705771"/>
                  </a:cubicBezTo>
                  <a:lnTo>
                    <a:pt x="111863" y="648621"/>
                  </a:lnTo>
                  <a:cubicBezTo>
                    <a:pt x="121388" y="651796"/>
                    <a:pt x="130534" y="659797"/>
                    <a:pt x="140438" y="658146"/>
                  </a:cubicBezTo>
                  <a:cubicBezTo>
                    <a:pt x="184534" y="650797"/>
                    <a:pt x="159107" y="634809"/>
                    <a:pt x="178538" y="610521"/>
                  </a:cubicBezTo>
                  <a:cubicBezTo>
                    <a:pt x="185689" y="601582"/>
                    <a:pt x="197588" y="597821"/>
                    <a:pt x="207113" y="591471"/>
                  </a:cubicBezTo>
                  <a:cubicBezTo>
                    <a:pt x="216638" y="594646"/>
                    <a:pt x="227848" y="594724"/>
                    <a:pt x="235688" y="600996"/>
                  </a:cubicBezTo>
                  <a:cubicBezTo>
                    <a:pt x="280296" y="636682"/>
                    <a:pt x="262162" y="610276"/>
                    <a:pt x="264263" y="658146"/>
                  </a:cubicBezTo>
                  <a:cubicBezTo>
                    <a:pt x="280939" y="628985"/>
                    <a:pt x="283313" y="670846"/>
                    <a:pt x="292838" y="677196"/>
                  </a:cubicBezTo>
                  <a:cubicBezTo>
                    <a:pt x="302363" y="670846"/>
                    <a:pt x="310952" y="662795"/>
                    <a:pt x="321413" y="658146"/>
                  </a:cubicBezTo>
                  <a:cubicBezTo>
                    <a:pt x="351228" y="644895"/>
                    <a:pt x="384998" y="637487"/>
                    <a:pt x="416663" y="629571"/>
                  </a:cubicBezTo>
                  <a:cubicBezTo>
                    <a:pt x="432538" y="632746"/>
                    <a:pt x="448165" y="640562"/>
                    <a:pt x="464288" y="639096"/>
                  </a:cubicBezTo>
                  <a:cubicBezTo>
                    <a:pt x="484286" y="637278"/>
                    <a:pt x="521438" y="620046"/>
                    <a:pt x="521438" y="620046"/>
                  </a:cubicBezTo>
                  <a:lnTo>
                    <a:pt x="559538" y="562896"/>
                  </a:lnTo>
                  <a:cubicBezTo>
                    <a:pt x="565888" y="553371"/>
                    <a:pt x="574968" y="545181"/>
                    <a:pt x="578588" y="534321"/>
                  </a:cubicBezTo>
                  <a:cubicBezTo>
                    <a:pt x="584938" y="515271"/>
                    <a:pt x="586499" y="493879"/>
                    <a:pt x="597638" y="477171"/>
                  </a:cubicBezTo>
                  <a:cubicBezTo>
                    <a:pt x="603988" y="467646"/>
                    <a:pt x="611568" y="458835"/>
                    <a:pt x="616688" y="448596"/>
                  </a:cubicBezTo>
                  <a:cubicBezTo>
                    <a:pt x="629522" y="422929"/>
                    <a:pt x="620999" y="412677"/>
                    <a:pt x="645263" y="391446"/>
                  </a:cubicBezTo>
                  <a:cubicBezTo>
                    <a:pt x="725350" y="321370"/>
                    <a:pt x="674298" y="372166"/>
                    <a:pt x="730988" y="343821"/>
                  </a:cubicBezTo>
                  <a:cubicBezTo>
                    <a:pt x="741227" y="338701"/>
                    <a:pt x="750038" y="331121"/>
                    <a:pt x="759563" y="324771"/>
                  </a:cubicBezTo>
                  <a:cubicBezTo>
                    <a:pt x="761915" y="321242"/>
                    <a:pt x="823821" y="233814"/>
                    <a:pt x="797663" y="239046"/>
                  </a:cubicBezTo>
                  <a:lnTo>
                    <a:pt x="750038" y="248571"/>
                  </a:lnTo>
                  <a:cubicBezTo>
                    <a:pt x="740513" y="245396"/>
                    <a:pt x="725953" y="248026"/>
                    <a:pt x="721463" y="239046"/>
                  </a:cubicBezTo>
                  <a:cubicBezTo>
                    <a:pt x="716973" y="230066"/>
                    <a:pt x="726498" y="219451"/>
                    <a:pt x="730988" y="210471"/>
                  </a:cubicBezTo>
                  <a:cubicBezTo>
                    <a:pt x="736108" y="200232"/>
                    <a:pt x="741099" y="189047"/>
                    <a:pt x="750038" y="181896"/>
                  </a:cubicBezTo>
                  <a:cubicBezTo>
                    <a:pt x="757878" y="175624"/>
                    <a:pt x="769633" y="176861"/>
                    <a:pt x="778613" y="172371"/>
                  </a:cubicBezTo>
                  <a:cubicBezTo>
                    <a:pt x="788852" y="167251"/>
                    <a:pt x="797663" y="159671"/>
                    <a:pt x="807188" y="153321"/>
                  </a:cubicBezTo>
                  <a:cubicBezTo>
                    <a:pt x="810363" y="143796"/>
                    <a:pt x="810441" y="132586"/>
                    <a:pt x="816713" y="124746"/>
                  </a:cubicBezTo>
                  <a:cubicBezTo>
                    <a:pt x="838868" y="97052"/>
                    <a:pt x="874996" y="104940"/>
                    <a:pt x="902438" y="86646"/>
                  </a:cubicBezTo>
                  <a:lnTo>
                    <a:pt x="931013" y="67596"/>
                  </a:lnTo>
                  <a:cubicBezTo>
                    <a:pt x="934188" y="58071"/>
                    <a:pt x="934266" y="46861"/>
                    <a:pt x="940538" y="39021"/>
                  </a:cubicBezTo>
                  <a:cubicBezTo>
                    <a:pt x="971755" y="0"/>
                    <a:pt x="958001" y="26321"/>
                    <a:pt x="959588" y="29496"/>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14" name="Freeform 13"/>
            <p:cNvSpPr/>
            <p:nvPr/>
          </p:nvSpPr>
          <p:spPr bwMode="auto">
            <a:xfrm>
              <a:off x="2616199" y="4746624"/>
              <a:ext cx="606426" cy="536576"/>
            </a:xfrm>
            <a:custGeom>
              <a:avLst/>
              <a:gdLst>
                <a:gd name="connsiteX0" fmla="*/ 457200 w 809566"/>
                <a:gd name="connsiteY0" fmla="*/ 698954 h 718085"/>
                <a:gd name="connsiteX1" fmla="*/ 523875 w 809566"/>
                <a:gd name="connsiteY1" fmla="*/ 698954 h 718085"/>
                <a:gd name="connsiteX2" fmla="*/ 533400 w 809566"/>
                <a:gd name="connsiteY2" fmla="*/ 670379 h 718085"/>
                <a:gd name="connsiteX3" fmla="*/ 552450 w 809566"/>
                <a:gd name="connsiteY3" fmla="*/ 537029 h 718085"/>
                <a:gd name="connsiteX4" fmla="*/ 571500 w 809566"/>
                <a:gd name="connsiteY4" fmla="*/ 508454 h 718085"/>
                <a:gd name="connsiteX5" fmla="*/ 628650 w 809566"/>
                <a:gd name="connsiteY5" fmla="*/ 479879 h 718085"/>
                <a:gd name="connsiteX6" fmla="*/ 685800 w 809566"/>
                <a:gd name="connsiteY6" fmla="*/ 508454 h 718085"/>
                <a:gd name="connsiteX7" fmla="*/ 714375 w 809566"/>
                <a:gd name="connsiteY7" fmla="*/ 517979 h 718085"/>
                <a:gd name="connsiteX8" fmla="*/ 771525 w 809566"/>
                <a:gd name="connsiteY8" fmla="*/ 517979 h 718085"/>
                <a:gd name="connsiteX9" fmla="*/ 800100 w 809566"/>
                <a:gd name="connsiteY9" fmla="*/ 508454 h 718085"/>
                <a:gd name="connsiteX10" fmla="*/ 762000 w 809566"/>
                <a:gd name="connsiteY10" fmla="*/ 451304 h 718085"/>
                <a:gd name="connsiteX11" fmla="*/ 752475 w 809566"/>
                <a:gd name="connsiteY11" fmla="*/ 422729 h 718085"/>
                <a:gd name="connsiteX12" fmla="*/ 762000 w 809566"/>
                <a:gd name="connsiteY12" fmla="*/ 394154 h 718085"/>
                <a:gd name="connsiteX13" fmla="*/ 723900 w 809566"/>
                <a:gd name="connsiteY13" fmla="*/ 337004 h 718085"/>
                <a:gd name="connsiteX14" fmla="*/ 733425 w 809566"/>
                <a:gd name="connsiteY14" fmla="*/ 308429 h 718085"/>
                <a:gd name="connsiteX15" fmla="*/ 695325 w 809566"/>
                <a:gd name="connsiteY15" fmla="*/ 260804 h 718085"/>
                <a:gd name="connsiteX16" fmla="*/ 676275 w 809566"/>
                <a:gd name="connsiteY16" fmla="*/ 232229 h 718085"/>
                <a:gd name="connsiteX17" fmla="*/ 685800 w 809566"/>
                <a:gd name="connsiteY17" fmla="*/ 203654 h 718085"/>
                <a:gd name="connsiteX18" fmla="*/ 647700 w 809566"/>
                <a:gd name="connsiteY18" fmla="*/ 156029 h 718085"/>
                <a:gd name="connsiteX19" fmla="*/ 647700 w 809566"/>
                <a:gd name="connsiteY19" fmla="*/ 98879 h 718085"/>
                <a:gd name="connsiteX20" fmla="*/ 609600 w 809566"/>
                <a:gd name="connsiteY20" fmla="*/ 108404 h 718085"/>
                <a:gd name="connsiteX21" fmla="*/ 590550 w 809566"/>
                <a:gd name="connsiteY21" fmla="*/ 136979 h 718085"/>
                <a:gd name="connsiteX22" fmla="*/ 561975 w 809566"/>
                <a:gd name="connsiteY22" fmla="*/ 108404 h 718085"/>
                <a:gd name="connsiteX23" fmla="*/ 514350 w 809566"/>
                <a:gd name="connsiteY23" fmla="*/ 60779 h 718085"/>
                <a:gd name="connsiteX24" fmla="*/ 485775 w 809566"/>
                <a:gd name="connsiteY24" fmla="*/ 70304 h 718085"/>
                <a:gd name="connsiteX25" fmla="*/ 457200 w 809566"/>
                <a:gd name="connsiteY25" fmla="*/ 89354 h 718085"/>
                <a:gd name="connsiteX26" fmla="*/ 400050 w 809566"/>
                <a:gd name="connsiteY26" fmla="*/ 70304 h 718085"/>
                <a:gd name="connsiteX27" fmla="*/ 342900 w 809566"/>
                <a:gd name="connsiteY27" fmla="*/ 41729 h 718085"/>
                <a:gd name="connsiteX28" fmla="*/ 304800 w 809566"/>
                <a:gd name="connsiteY28" fmla="*/ 3629 h 718085"/>
                <a:gd name="connsiteX29" fmla="*/ 247650 w 809566"/>
                <a:gd name="connsiteY29" fmla="*/ 22679 h 718085"/>
                <a:gd name="connsiteX30" fmla="*/ 219075 w 809566"/>
                <a:gd name="connsiteY30" fmla="*/ 32204 h 718085"/>
                <a:gd name="connsiteX31" fmla="*/ 171450 w 809566"/>
                <a:gd name="connsiteY31" fmla="*/ 89354 h 718085"/>
                <a:gd name="connsiteX32" fmla="*/ 152400 w 809566"/>
                <a:gd name="connsiteY32" fmla="*/ 117929 h 718085"/>
                <a:gd name="connsiteX33" fmla="*/ 142875 w 809566"/>
                <a:gd name="connsiteY33" fmla="*/ 156029 h 718085"/>
                <a:gd name="connsiteX34" fmla="*/ 85725 w 809566"/>
                <a:gd name="connsiteY34" fmla="*/ 175079 h 718085"/>
                <a:gd name="connsiteX35" fmla="*/ 57150 w 809566"/>
                <a:gd name="connsiteY35" fmla="*/ 194129 h 718085"/>
                <a:gd name="connsiteX36" fmla="*/ 0 w 809566"/>
                <a:gd name="connsiteY36" fmla="*/ 213179 h 718085"/>
                <a:gd name="connsiteX37" fmla="*/ 19050 w 809566"/>
                <a:gd name="connsiteY37" fmla="*/ 241754 h 718085"/>
                <a:gd name="connsiteX38" fmla="*/ 47625 w 809566"/>
                <a:gd name="connsiteY38" fmla="*/ 232229 h 718085"/>
                <a:gd name="connsiteX39" fmla="*/ 76200 w 809566"/>
                <a:gd name="connsiteY39" fmla="*/ 241754 h 718085"/>
                <a:gd name="connsiteX40" fmla="*/ 142875 w 809566"/>
                <a:gd name="connsiteY40" fmla="*/ 308429 h 718085"/>
                <a:gd name="connsiteX41" fmla="*/ 152400 w 809566"/>
                <a:gd name="connsiteY41" fmla="*/ 356054 h 718085"/>
                <a:gd name="connsiteX42" fmla="*/ 190500 w 809566"/>
                <a:gd name="connsiteY42" fmla="*/ 413204 h 718085"/>
                <a:gd name="connsiteX43" fmla="*/ 209550 w 809566"/>
                <a:gd name="connsiteY43" fmla="*/ 441779 h 718085"/>
                <a:gd name="connsiteX44" fmla="*/ 295275 w 809566"/>
                <a:gd name="connsiteY44" fmla="*/ 508454 h 718085"/>
                <a:gd name="connsiteX45" fmla="*/ 342900 w 809566"/>
                <a:gd name="connsiteY45" fmla="*/ 575129 h 718085"/>
                <a:gd name="connsiteX46" fmla="*/ 371475 w 809566"/>
                <a:gd name="connsiteY46" fmla="*/ 594179 h 718085"/>
                <a:gd name="connsiteX47" fmla="*/ 400050 w 809566"/>
                <a:gd name="connsiteY47" fmla="*/ 651329 h 718085"/>
                <a:gd name="connsiteX48" fmla="*/ 409575 w 809566"/>
                <a:gd name="connsiteY48" fmla="*/ 679904 h 718085"/>
                <a:gd name="connsiteX49" fmla="*/ 466725 w 809566"/>
                <a:gd name="connsiteY49" fmla="*/ 698954 h 718085"/>
                <a:gd name="connsiteX50" fmla="*/ 457200 w 809566"/>
                <a:gd name="connsiteY50" fmla="*/ 698954 h 718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809566" h="718085">
                  <a:moveTo>
                    <a:pt x="457200" y="698954"/>
                  </a:moveTo>
                  <a:cubicBezTo>
                    <a:pt x="466725" y="698954"/>
                    <a:pt x="504744" y="718085"/>
                    <a:pt x="523875" y="698954"/>
                  </a:cubicBezTo>
                  <a:cubicBezTo>
                    <a:pt x="530975" y="691854"/>
                    <a:pt x="530225" y="679904"/>
                    <a:pt x="533400" y="670379"/>
                  </a:cubicBezTo>
                  <a:cubicBezTo>
                    <a:pt x="535834" y="643610"/>
                    <a:pt x="534126" y="573678"/>
                    <a:pt x="552450" y="537029"/>
                  </a:cubicBezTo>
                  <a:cubicBezTo>
                    <a:pt x="557570" y="526790"/>
                    <a:pt x="563405" y="516549"/>
                    <a:pt x="571500" y="508454"/>
                  </a:cubicBezTo>
                  <a:cubicBezTo>
                    <a:pt x="589964" y="489990"/>
                    <a:pt x="605409" y="487626"/>
                    <a:pt x="628650" y="479879"/>
                  </a:cubicBezTo>
                  <a:cubicBezTo>
                    <a:pt x="700474" y="503820"/>
                    <a:pt x="611942" y="471525"/>
                    <a:pt x="685800" y="508454"/>
                  </a:cubicBezTo>
                  <a:cubicBezTo>
                    <a:pt x="694780" y="512944"/>
                    <a:pt x="704850" y="514804"/>
                    <a:pt x="714375" y="517979"/>
                  </a:cubicBezTo>
                  <a:cubicBezTo>
                    <a:pt x="790575" y="492579"/>
                    <a:pt x="695325" y="517979"/>
                    <a:pt x="771525" y="517979"/>
                  </a:cubicBezTo>
                  <a:cubicBezTo>
                    <a:pt x="781565" y="517979"/>
                    <a:pt x="790575" y="511629"/>
                    <a:pt x="800100" y="508454"/>
                  </a:cubicBezTo>
                  <a:cubicBezTo>
                    <a:pt x="777452" y="440510"/>
                    <a:pt x="809566" y="522653"/>
                    <a:pt x="762000" y="451304"/>
                  </a:cubicBezTo>
                  <a:cubicBezTo>
                    <a:pt x="756431" y="442950"/>
                    <a:pt x="755650" y="432254"/>
                    <a:pt x="752475" y="422729"/>
                  </a:cubicBezTo>
                  <a:cubicBezTo>
                    <a:pt x="755650" y="413204"/>
                    <a:pt x="765175" y="403679"/>
                    <a:pt x="762000" y="394154"/>
                  </a:cubicBezTo>
                  <a:cubicBezTo>
                    <a:pt x="754760" y="372434"/>
                    <a:pt x="723900" y="337004"/>
                    <a:pt x="723900" y="337004"/>
                  </a:cubicBezTo>
                  <a:cubicBezTo>
                    <a:pt x="727075" y="327479"/>
                    <a:pt x="733425" y="318469"/>
                    <a:pt x="733425" y="308429"/>
                  </a:cubicBezTo>
                  <a:cubicBezTo>
                    <a:pt x="733425" y="277757"/>
                    <a:pt x="717266" y="275432"/>
                    <a:pt x="695325" y="260804"/>
                  </a:cubicBezTo>
                  <a:cubicBezTo>
                    <a:pt x="688975" y="251279"/>
                    <a:pt x="678157" y="243521"/>
                    <a:pt x="676275" y="232229"/>
                  </a:cubicBezTo>
                  <a:cubicBezTo>
                    <a:pt x="674624" y="222325"/>
                    <a:pt x="685800" y="213694"/>
                    <a:pt x="685800" y="203654"/>
                  </a:cubicBezTo>
                  <a:cubicBezTo>
                    <a:pt x="685800" y="159800"/>
                    <a:pt x="679521" y="166636"/>
                    <a:pt x="647700" y="156029"/>
                  </a:cubicBezTo>
                  <a:cubicBezTo>
                    <a:pt x="650688" y="147064"/>
                    <a:pt x="670112" y="107844"/>
                    <a:pt x="647700" y="98879"/>
                  </a:cubicBezTo>
                  <a:cubicBezTo>
                    <a:pt x="635545" y="94017"/>
                    <a:pt x="622300" y="105229"/>
                    <a:pt x="609600" y="108404"/>
                  </a:cubicBezTo>
                  <a:cubicBezTo>
                    <a:pt x="603250" y="117929"/>
                    <a:pt x="601998" y="136979"/>
                    <a:pt x="590550" y="136979"/>
                  </a:cubicBezTo>
                  <a:cubicBezTo>
                    <a:pt x="577080" y="136979"/>
                    <a:pt x="570599" y="118752"/>
                    <a:pt x="561975" y="108404"/>
                  </a:cubicBezTo>
                  <a:cubicBezTo>
                    <a:pt x="522288" y="60779"/>
                    <a:pt x="566738" y="95704"/>
                    <a:pt x="514350" y="60779"/>
                  </a:cubicBezTo>
                  <a:cubicBezTo>
                    <a:pt x="504825" y="63954"/>
                    <a:pt x="494755" y="65814"/>
                    <a:pt x="485775" y="70304"/>
                  </a:cubicBezTo>
                  <a:cubicBezTo>
                    <a:pt x="475536" y="75424"/>
                    <a:pt x="468648" y="89354"/>
                    <a:pt x="457200" y="89354"/>
                  </a:cubicBezTo>
                  <a:cubicBezTo>
                    <a:pt x="437120" y="89354"/>
                    <a:pt x="419100" y="76654"/>
                    <a:pt x="400050" y="70304"/>
                  </a:cubicBezTo>
                  <a:cubicBezTo>
                    <a:pt x="360615" y="57159"/>
                    <a:pt x="379829" y="66348"/>
                    <a:pt x="342900" y="41729"/>
                  </a:cubicBezTo>
                  <a:cubicBezTo>
                    <a:pt x="335643" y="19958"/>
                    <a:pt x="337457" y="0"/>
                    <a:pt x="304800" y="3629"/>
                  </a:cubicBezTo>
                  <a:cubicBezTo>
                    <a:pt x="284842" y="5847"/>
                    <a:pt x="266700" y="16329"/>
                    <a:pt x="247650" y="22679"/>
                  </a:cubicBezTo>
                  <a:lnTo>
                    <a:pt x="219075" y="32204"/>
                  </a:lnTo>
                  <a:cubicBezTo>
                    <a:pt x="171777" y="103150"/>
                    <a:pt x="232566" y="16015"/>
                    <a:pt x="171450" y="89354"/>
                  </a:cubicBezTo>
                  <a:cubicBezTo>
                    <a:pt x="164121" y="98148"/>
                    <a:pt x="158750" y="108404"/>
                    <a:pt x="152400" y="117929"/>
                  </a:cubicBezTo>
                  <a:cubicBezTo>
                    <a:pt x="149225" y="130629"/>
                    <a:pt x="152814" y="147510"/>
                    <a:pt x="142875" y="156029"/>
                  </a:cubicBezTo>
                  <a:cubicBezTo>
                    <a:pt x="127629" y="169097"/>
                    <a:pt x="102433" y="163940"/>
                    <a:pt x="85725" y="175079"/>
                  </a:cubicBezTo>
                  <a:cubicBezTo>
                    <a:pt x="76200" y="181429"/>
                    <a:pt x="67611" y="189480"/>
                    <a:pt x="57150" y="194129"/>
                  </a:cubicBezTo>
                  <a:cubicBezTo>
                    <a:pt x="38800" y="202284"/>
                    <a:pt x="0" y="213179"/>
                    <a:pt x="0" y="213179"/>
                  </a:cubicBezTo>
                  <a:cubicBezTo>
                    <a:pt x="6350" y="222704"/>
                    <a:pt x="8421" y="237502"/>
                    <a:pt x="19050" y="241754"/>
                  </a:cubicBezTo>
                  <a:cubicBezTo>
                    <a:pt x="28372" y="245483"/>
                    <a:pt x="37585" y="232229"/>
                    <a:pt x="47625" y="232229"/>
                  </a:cubicBezTo>
                  <a:cubicBezTo>
                    <a:pt x="57665" y="232229"/>
                    <a:pt x="66675" y="238579"/>
                    <a:pt x="76200" y="241754"/>
                  </a:cubicBezTo>
                  <a:cubicBezTo>
                    <a:pt x="119869" y="307258"/>
                    <a:pt x="92580" y="291664"/>
                    <a:pt x="142875" y="308429"/>
                  </a:cubicBezTo>
                  <a:cubicBezTo>
                    <a:pt x="146050" y="324304"/>
                    <a:pt x="145701" y="341316"/>
                    <a:pt x="152400" y="356054"/>
                  </a:cubicBezTo>
                  <a:cubicBezTo>
                    <a:pt x="161874" y="376897"/>
                    <a:pt x="177800" y="394154"/>
                    <a:pt x="190500" y="413204"/>
                  </a:cubicBezTo>
                  <a:cubicBezTo>
                    <a:pt x="196850" y="422729"/>
                    <a:pt x="200025" y="435429"/>
                    <a:pt x="209550" y="441779"/>
                  </a:cubicBezTo>
                  <a:cubicBezTo>
                    <a:pt x="277908" y="487351"/>
                    <a:pt x="250511" y="463690"/>
                    <a:pt x="295275" y="508454"/>
                  </a:cubicBezTo>
                  <a:cubicBezTo>
                    <a:pt x="323850" y="594179"/>
                    <a:pt x="292100" y="549729"/>
                    <a:pt x="342900" y="575129"/>
                  </a:cubicBezTo>
                  <a:cubicBezTo>
                    <a:pt x="353139" y="580249"/>
                    <a:pt x="361950" y="587829"/>
                    <a:pt x="371475" y="594179"/>
                  </a:cubicBezTo>
                  <a:cubicBezTo>
                    <a:pt x="395416" y="666003"/>
                    <a:pt x="363121" y="577471"/>
                    <a:pt x="400050" y="651329"/>
                  </a:cubicBezTo>
                  <a:cubicBezTo>
                    <a:pt x="404540" y="660309"/>
                    <a:pt x="401405" y="674068"/>
                    <a:pt x="409575" y="679904"/>
                  </a:cubicBezTo>
                  <a:cubicBezTo>
                    <a:pt x="425915" y="691576"/>
                    <a:pt x="466725" y="698954"/>
                    <a:pt x="466725" y="698954"/>
                  </a:cubicBezTo>
                  <a:cubicBezTo>
                    <a:pt x="487536" y="667737"/>
                    <a:pt x="447675" y="698954"/>
                    <a:pt x="457200" y="698954"/>
                  </a:cubicBezTo>
                  <a:close/>
                </a:path>
              </a:pathLst>
            </a:custGeom>
            <a:grpFill/>
            <a:ln w="12700" cap="flat" cmpd="sng" algn="ctr">
              <a:solidFill>
                <a:schemeClr val="bg1"/>
              </a:solidFill>
              <a:prstDash val="solid"/>
              <a:round/>
              <a:headEnd type="none" w="sm" len="sm"/>
              <a:tailEnd type="none" w="sm" len="sm"/>
            </a:ln>
            <a:effectLst/>
          </p:spPr>
          <p:txBody>
            <a:bodyPr/>
            <a:lstStyle/>
            <a:p>
              <a:pPr>
                <a:defRPr/>
              </a:pPr>
              <a:endParaRPr lang="en-GB" dirty="0">
                <a:solidFill>
                  <a:srgbClr val="626469"/>
                </a:solidFill>
              </a:endParaRPr>
            </a:p>
          </p:txBody>
        </p:sp>
        <p:sp>
          <p:nvSpPr>
            <p:cNvPr id="15" name="Freeform 14"/>
            <p:cNvSpPr/>
            <p:nvPr/>
          </p:nvSpPr>
          <p:spPr bwMode="auto">
            <a:xfrm>
              <a:off x="2381249" y="4905374"/>
              <a:ext cx="498476" cy="558800"/>
            </a:xfrm>
            <a:custGeom>
              <a:avLst/>
              <a:gdLst>
                <a:gd name="connsiteX0" fmla="*/ 161925 w 638175"/>
                <a:gd name="connsiteY0" fmla="*/ 663357 h 682407"/>
                <a:gd name="connsiteX1" fmla="*/ 180975 w 638175"/>
                <a:gd name="connsiteY1" fmla="*/ 634782 h 682407"/>
                <a:gd name="connsiteX2" fmla="*/ 238125 w 638175"/>
                <a:gd name="connsiteY2" fmla="*/ 634782 h 682407"/>
                <a:gd name="connsiteX3" fmla="*/ 295275 w 638175"/>
                <a:gd name="connsiteY3" fmla="*/ 682407 h 682407"/>
                <a:gd name="connsiteX4" fmla="*/ 323850 w 638175"/>
                <a:gd name="connsiteY4" fmla="*/ 672882 h 682407"/>
                <a:gd name="connsiteX5" fmla="*/ 342900 w 638175"/>
                <a:gd name="connsiteY5" fmla="*/ 644307 h 682407"/>
                <a:gd name="connsiteX6" fmla="*/ 476250 w 638175"/>
                <a:gd name="connsiteY6" fmla="*/ 634782 h 682407"/>
                <a:gd name="connsiteX7" fmla="*/ 504825 w 638175"/>
                <a:gd name="connsiteY7" fmla="*/ 615732 h 682407"/>
                <a:gd name="connsiteX8" fmla="*/ 542925 w 638175"/>
                <a:gd name="connsiteY8" fmla="*/ 539532 h 682407"/>
                <a:gd name="connsiteX9" fmla="*/ 600075 w 638175"/>
                <a:gd name="connsiteY9" fmla="*/ 539532 h 682407"/>
                <a:gd name="connsiteX10" fmla="*/ 638175 w 638175"/>
                <a:gd name="connsiteY10" fmla="*/ 482382 h 682407"/>
                <a:gd name="connsiteX11" fmla="*/ 628650 w 638175"/>
                <a:gd name="connsiteY11" fmla="*/ 444282 h 682407"/>
                <a:gd name="connsiteX12" fmla="*/ 619125 w 638175"/>
                <a:gd name="connsiteY12" fmla="*/ 415707 h 682407"/>
                <a:gd name="connsiteX13" fmla="*/ 628650 w 638175"/>
                <a:gd name="connsiteY13" fmla="*/ 387132 h 682407"/>
                <a:gd name="connsiteX14" fmla="*/ 609600 w 638175"/>
                <a:gd name="connsiteY14" fmla="*/ 310932 h 682407"/>
                <a:gd name="connsiteX15" fmla="*/ 590550 w 638175"/>
                <a:gd name="connsiteY15" fmla="*/ 282357 h 682407"/>
                <a:gd name="connsiteX16" fmla="*/ 581025 w 638175"/>
                <a:gd name="connsiteY16" fmla="*/ 253782 h 682407"/>
                <a:gd name="connsiteX17" fmla="*/ 523875 w 638175"/>
                <a:gd name="connsiteY17" fmla="*/ 225207 h 682407"/>
                <a:gd name="connsiteX18" fmla="*/ 495300 w 638175"/>
                <a:gd name="connsiteY18" fmla="*/ 196632 h 682407"/>
                <a:gd name="connsiteX19" fmla="*/ 457200 w 638175"/>
                <a:gd name="connsiteY19" fmla="*/ 139482 h 682407"/>
                <a:gd name="connsiteX20" fmla="*/ 438150 w 638175"/>
                <a:gd name="connsiteY20" fmla="*/ 72807 h 682407"/>
                <a:gd name="connsiteX21" fmla="*/ 409575 w 638175"/>
                <a:gd name="connsiteY21" fmla="*/ 63282 h 682407"/>
                <a:gd name="connsiteX22" fmla="*/ 390525 w 638175"/>
                <a:gd name="connsiteY22" fmla="*/ 34707 h 682407"/>
                <a:gd name="connsiteX23" fmla="*/ 381000 w 638175"/>
                <a:gd name="connsiteY23" fmla="*/ 6132 h 682407"/>
                <a:gd name="connsiteX24" fmla="*/ 295275 w 638175"/>
                <a:gd name="connsiteY24" fmla="*/ 44232 h 682407"/>
                <a:gd name="connsiteX25" fmla="*/ 238125 w 638175"/>
                <a:gd name="connsiteY25" fmla="*/ 63282 h 682407"/>
                <a:gd name="connsiteX26" fmla="*/ 209550 w 638175"/>
                <a:gd name="connsiteY26" fmla="*/ 72807 h 682407"/>
                <a:gd name="connsiteX27" fmla="*/ 152400 w 638175"/>
                <a:gd name="connsiteY27" fmla="*/ 110907 h 682407"/>
                <a:gd name="connsiteX28" fmla="*/ 133350 w 638175"/>
                <a:gd name="connsiteY28" fmla="*/ 139482 h 682407"/>
                <a:gd name="connsiteX29" fmla="*/ 161925 w 638175"/>
                <a:gd name="connsiteY29" fmla="*/ 196632 h 682407"/>
                <a:gd name="connsiteX30" fmla="*/ 114300 w 638175"/>
                <a:gd name="connsiteY30" fmla="*/ 244257 h 682407"/>
                <a:gd name="connsiteX31" fmla="*/ 123825 w 638175"/>
                <a:gd name="connsiteY31" fmla="*/ 272832 h 682407"/>
                <a:gd name="connsiteX32" fmla="*/ 152400 w 638175"/>
                <a:gd name="connsiteY32" fmla="*/ 291882 h 682407"/>
                <a:gd name="connsiteX33" fmla="*/ 133350 w 638175"/>
                <a:gd name="connsiteY33" fmla="*/ 320457 h 682407"/>
                <a:gd name="connsiteX34" fmla="*/ 104775 w 638175"/>
                <a:gd name="connsiteY34" fmla="*/ 329982 h 682407"/>
                <a:gd name="connsiteX35" fmla="*/ 95250 w 638175"/>
                <a:gd name="connsiteY35" fmla="*/ 358557 h 682407"/>
                <a:gd name="connsiteX36" fmla="*/ 38100 w 638175"/>
                <a:gd name="connsiteY36" fmla="*/ 415707 h 682407"/>
                <a:gd name="connsiteX37" fmla="*/ 0 w 638175"/>
                <a:gd name="connsiteY37" fmla="*/ 472857 h 682407"/>
                <a:gd name="connsiteX38" fmla="*/ 47625 w 638175"/>
                <a:gd name="connsiteY38" fmla="*/ 549057 h 682407"/>
                <a:gd name="connsiteX39" fmla="*/ 76200 w 638175"/>
                <a:gd name="connsiteY39" fmla="*/ 606207 h 682407"/>
                <a:gd name="connsiteX40" fmla="*/ 85725 w 638175"/>
                <a:gd name="connsiteY40" fmla="*/ 634782 h 682407"/>
                <a:gd name="connsiteX41" fmla="*/ 142875 w 638175"/>
                <a:gd name="connsiteY41" fmla="*/ 653832 h 682407"/>
                <a:gd name="connsiteX42" fmla="*/ 161925 w 638175"/>
                <a:gd name="connsiteY42" fmla="*/ 663357 h 682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38175" h="682407">
                  <a:moveTo>
                    <a:pt x="161925" y="663357"/>
                  </a:moveTo>
                  <a:cubicBezTo>
                    <a:pt x="168275" y="660182"/>
                    <a:pt x="172036" y="641933"/>
                    <a:pt x="180975" y="634782"/>
                  </a:cubicBezTo>
                  <a:cubicBezTo>
                    <a:pt x="200513" y="619151"/>
                    <a:pt x="218587" y="625013"/>
                    <a:pt x="238125" y="634782"/>
                  </a:cubicBezTo>
                  <a:cubicBezTo>
                    <a:pt x="264647" y="648043"/>
                    <a:pt x="274209" y="661341"/>
                    <a:pt x="295275" y="682407"/>
                  </a:cubicBezTo>
                  <a:cubicBezTo>
                    <a:pt x="304800" y="679232"/>
                    <a:pt x="316010" y="679154"/>
                    <a:pt x="323850" y="672882"/>
                  </a:cubicBezTo>
                  <a:cubicBezTo>
                    <a:pt x="332789" y="665731"/>
                    <a:pt x="331794" y="647083"/>
                    <a:pt x="342900" y="644307"/>
                  </a:cubicBezTo>
                  <a:cubicBezTo>
                    <a:pt x="386133" y="633499"/>
                    <a:pt x="431800" y="637957"/>
                    <a:pt x="476250" y="634782"/>
                  </a:cubicBezTo>
                  <a:cubicBezTo>
                    <a:pt x="485775" y="628432"/>
                    <a:pt x="499705" y="625971"/>
                    <a:pt x="504825" y="615732"/>
                  </a:cubicBezTo>
                  <a:cubicBezTo>
                    <a:pt x="550453" y="524476"/>
                    <a:pt x="477996" y="582818"/>
                    <a:pt x="542925" y="539532"/>
                  </a:cubicBezTo>
                  <a:cubicBezTo>
                    <a:pt x="561975" y="545882"/>
                    <a:pt x="581025" y="558582"/>
                    <a:pt x="600075" y="539532"/>
                  </a:cubicBezTo>
                  <a:cubicBezTo>
                    <a:pt x="616264" y="523343"/>
                    <a:pt x="638175" y="482382"/>
                    <a:pt x="638175" y="482382"/>
                  </a:cubicBezTo>
                  <a:cubicBezTo>
                    <a:pt x="635000" y="469682"/>
                    <a:pt x="632246" y="456869"/>
                    <a:pt x="628650" y="444282"/>
                  </a:cubicBezTo>
                  <a:cubicBezTo>
                    <a:pt x="625892" y="434628"/>
                    <a:pt x="619125" y="425747"/>
                    <a:pt x="619125" y="415707"/>
                  </a:cubicBezTo>
                  <a:cubicBezTo>
                    <a:pt x="619125" y="405667"/>
                    <a:pt x="625475" y="396657"/>
                    <a:pt x="628650" y="387132"/>
                  </a:cubicBezTo>
                  <a:cubicBezTo>
                    <a:pt x="625027" y="369018"/>
                    <a:pt x="619363" y="330458"/>
                    <a:pt x="609600" y="310932"/>
                  </a:cubicBezTo>
                  <a:cubicBezTo>
                    <a:pt x="604480" y="300693"/>
                    <a:pt x="595670" y="292596"/>
                    <a:pt x="590550" y="282357"/>
                  </a:cubicBezTo>
                  <a:cubicBezTo>
                    <a:pt x="586060" y="273377"/>
                    <a:pt x="587297" y="261622"/>
                    <a:pt x="581025" y="253782"/>
                  </a:cubicBezTo>
                  <a:cubicBezTo>
                    <a:pt x="567596" y="236996"/>
                    <a:pt x="542699" y="231482"/>
                    <a:pt x="523875" y="225207"/>
                  </a:cubicBezTo>
                  <a:cubicBezTo>
                    <a:pt x="514350" y="215682"/>
                    <a:pt x="503570" y="207265"/>
                    <a:pt x="495300" y="196632"/>
                  </a:cubicBezTo>
                  <a:cubicBezTo>
                    <a:pt x="481244" y="178560"/>
                    <a:pt x="457200" y="139482"/>
                    <a:pt x="457200" y="139482"/>
                  </a:cubicBezTo>
                  <a:cubicBezTo>
                    <a:pt x="457118" y="139152"/>
                    <a:pt x="442705" y="77362"/>
                    <a:pt x="438150" y="72807"/>
                  </a:cubicBezTo>
                  <a:cubicBezTo>
                    <a:pt x="431050" y="65707"/>
                    <a:pt x="419100" y="66457"/>
                    <a:pt x="409575" y="63282"/>
                  </a:cubicBezTo>
                  <a:cubicBezTo>
                    <a:pt x="403225" y="53757"/>
                    <a:pt x="395645" y="44946"/>
                    <a:pt x="390525" y="34707"/>
                  </a:cubicBezTo>
                  <a:cubicBezTo>
                    <a:pt x="386035" y="25727"/>
                    <a:pt x="390939" y="7552"/>
                    <a:pt x="381000" y="6132"/>
                  </a:cubicBezTo>
                  <a:cubicBezTo>
                    <a:pt x="338078" y="0"/>
                    <a:pt x="326255" y="30463"/>
                    <a:pt x="295275" y="44232"/>
                  </a:cubicBezTo>
                  <a:cubicBezTo>
                    <a:pt x="276925" y="52387"/>
                    <a:pt x="257175" y="56932"/>
                    <a:pt x="238125" y="63282"/>
                  </a:cubicBezTo>
                  <a:cubicBezTo>
                    <a:pt x="228600" y="66457"/>
                    <a:pt x="217904" y="67238"/>
                    <a:pt x="209550" y="72807"/>
                  </a:cubicBezTo>
                  <a:lnTo>
                    <a:pt x="152400" y="110907"/>
                  </a:lnTo>
                  <a:cubicBezTo>
                    <a:pt x="146050" y="120432"/>
                    <a:pt x="135232" y="128190"/>
                    <a:pt x="133350" y="139482"/>
                  </a:cubicBezTo>
                  <a:cubicBezTo>
                    <a:pt x="130721" y="155256"/>
                    <a:pt x="155291" y="186681"/>
                    <a:pt x="161925" y="196632"/>
                  </a:cubicBezTo>
                  <a:cubicBezTo>
                    <a:pt x="145256" y="207744"/>
                    <a:pt x="118269" y="220444"/>
                    <a:pt x="114300" y="244257"/>
                  </a:cubicBezTo>
                  <a:cubicBezTo>
                    <a:pt x="112649" y="254161"/>
                    <a:pt x="117553" y="264992"/>
                    <a:pt x="123825" y="272832"/>
                  </a:cubicBezTo>
                  <a:cubicBezTo>
                    <a:pt x="130976" y="281771"/>
                    <a:pt x="142875" y="285532"/>
                    <a:pt x="152400" y="291882"/>
                  </a:cubicBezTo>
                  <a:cubicBezTo>
                    <a:pt x="146050" y="301407"/>
                    <a:pt x="142289" y="313306"/>
                    <a:pt x="133350" y="320457"/>
                  </a:cubicBezTo>
                  <a:cubicBezTo>
                    <a:pt x="125510" y="326729"/>
                    <a:pt x="111875" y="322882"/>
                    <a:pt x="104775" y="329982"/>
                  </a:cubicBezTo>
                  <a:cubicBezTo>
                    <a:pt x="97675" y="337082"/>
                    <a:pt x="101414" y="350632"/>
                    <a:pt x="95250" y="358557"/>
                  </a:cubicBezTo>
                  <a:cubicBezTo>
                    <a:pt x="78710" y="379823"/>
                    <a:pt x="53044" y="393291"/>
                    <a:pt x="38100" y="415707"/>
                  </a:cubicBezTo>
                  <a:lnTo>
                    <a:pt x="0" y="472857"/>
                  </a:lnTo>
                  <a:cubicBezTo>
                    <a:pt x="22670" y="540867"/>
                    <a:pt x="2342" y="518868"/>
                    <a:pt x="47625" y="549057"/>
                  </a:cubicBezTo>
                  <a:cubicBezTo>
                    <a:pt x="71566" y="620881"/>
                    <a:pt x="39271" y="532349"/>
                    <a:pt x="76200" y="606207"/>
                  </a:cubicBezTo>
                  <a:cubicBezTo>
                    <a:pt x="80690" y="615187"/>
                    <a:pt x="77555" y="628946"/>
                    <a:pt x="85725" y="634782"/>
                  </a:cubicBezTo>
                  <a:cubicBezTo>
                    <a:pt x="102065" y="646454"/>
                    <a:pt x="142875" y="653832"/>
                    <a:pt x="142875" y="653832"/>
                  </a:cubicBezTo>
                  <a:cubicBezTo>
                    <a:pt x="163686" y="622615"/>
                    <a:pt x="155575" y="666532"/>
                    <a:pt x="161925" y="663357"/>
                  </a:cubicBezTo>
                  <a:close/>
                </a:path>
              </a:pathLst>
            </a:custGeom>
            <a:grpFill/>
            <a:ln w="12700" cap="flat" cmpd="sng" algn="ctr">
              <a:solidFill>
                <a:schemeClr val="bg1"/>
              </a:solidFill>
              <a:prstDash val="solid"/>
              <a:round/>
              <a:headEnd type="none" w="sm" len="sm"/>
              <a:tailEnd type="none" w="sm" len="sm"/>
            </a:ln>
            <a:effectLst/>
          </p:spPr>
          <p:txBody>
            <a:bodyPr/>
            <a:lstStyle/>
            <a:p>
              <a:pPr>
                <a:defRPr/>
              </a:pPr>
              <a:endParaRPr lang="en-GB" dirty="0">
                <a:solidFill>
                  <a:srgbClr val="626469"/>
                </a:solidFill>
              </a:endParaRPr>
            </a:p>
          </p:txBody>
        </p:sp>
        <p:sp>
          <p:nvSpPr>
            <p:cNvPr id="16" name="Freeform 15"/>
            <p:cNvSpPr/>
            <p:nvPr/>
          </p:nvSpPr>
          <p:spPr bwMode="auto">
            <a:xfrm>
              <a:off x="2974975" y="5083174"/>
              <a:ext cx="555624" cy="520700"/>
            </a:xfrm>
            <a:custGeom>
              <a:avLst/>
              <a:gdLst>
                <a:gd name="connsiteX0" fmla="*/ 723900 w 742950"/>
                <a:gd name="connsiteY0" fmla="*/ 304800 h 694154"/>
                <a:gd name="connsiteX1" fmla="*/ 657225 w 742950"/>
                <a:gd name="connsiteY1" fmla="*/ 371475 h 694154"/>
                <a:gd name="connsiteX2" fmla="*/ 628650 w 742950"/>
                <a:gd name="connsiteY2" fmla="*/ 390525 h 694154"/>
                <a:gd name="connsiteX3" fmla="*/ 609600 w 742950"/>
                <a:gd name="connsiteY3" fmla="*/ 447675 h 694154"/>
                <a:gd name="connsiteX4" fmla="*/ 600075 w 742950"/>
                <a:gd name="connsiteY4" fmla="*/ 476250 h 694154"/>
                <a:gd name="connsiteX5" fmla="*/ 609600 w 742950"/>
                <a:gd name="connsiteY5" fmla="*/ 504825 h 694154"/>
                <a:gd name="connsiteX6" fmla="*/ 561975 w 742950"/>
                <a:gd name="connsiteY6" fmla="*/ 590550 h 694154"/>
                <a:gd name="connsiteX7" fmla="*/ 552450 w 742950"/>
                <a:gd name="connsiteY7" fmla="*/ 619125 h 694154"/>
                <a:gd name="connsiteX8" fmla="*/ 542925 w 742950"/>
                <a:gd name="connsiteY8" fmla="*/ 657225 h 694154"/>
                <a:gd name="connsiteX9" fmla="*/ 523875 w 742950"/>
                <a:gd name="connsiteY9" fmla="*/ 685800 h 694154"/>
                <a:gd name="connsiteX10" fmla="*/ 466725 w 742950"/>
                <a:gd name="connsiteY10" fmla="*/ 657225 h 694154"/>
                <a:gd name="connsiteX11" fmla="*/ 438150 w 742950"/>
                <a:gd name="connsiteY11" fmla="*/ 647700 h 694154"/>
                <a:gd name="connsiteX12" fmla="*/ 409575 w 742950"/>
                <a:gd name="connsiteY12" fmla="*/ 628650 h 694154"/>
                <a:gd name="connsiteX13" fmla="*/ 381000 w 742950"/>
                <a:gd name="connsiteY13" fmla="*/ 619125 h 694154"/>
                <a:gd name="connsiteX14" fmla="*/ 295275 w 742950"/>
                <a:gd name="connsiteY14" fmla="*/ 571500 h 694154"/>
                <a:gd name="connsiteX15" fmla="*/ 276225 w 742950"/>
                <a:gd name="connsiteY15" fmla="*/ 542925 h 694154"/>
                <a:gd name="connsiteX16" fmla="*/ 266700 w 742950"/>
                <a:gd name="connsiteY16" fmla="*/ 495300 h 694154"/>
                <a:gd name="connsiteX17" fmla="*/ 238125 w 742950"/>
                <a:gd name="connsiteY17" fmla="*/ 476250 h 694154"/>
                <a:gd name="connsiteX18" fmla="*/ 219075 w 742950"/>
                <a:gd name="connsiteY18" fmla="*/ 447675 h 694154"/>
                <a:gd name="connsiteX19" fmla="*/ 190500 w 742950"/>
                <a:gd name="connsiteY19" fmla="*/ 438150 h 694154"/>
                <a:gd name="connsiteX20" fmla="*/ 104775 w 742950"/>
                <a:gd name="connsiteY20" fmla="*/ 428625 h 694154"/>
                <a:gd name="connsiteX21" fmla="*/ 66675 w 742950"/>
                <a:gd name="connsiteY21" fmla="*/ 371475 h 694154"/>
                <a:gd name="connsiteX22" fmla="*/ 28575 w 742950"/>
                <a:gd name="connsiteY22" fmla="*/ 285750 h 694154"/>
                <a:gd name="connsiteX23" fmla="*/ 0 w 742950"/>
                <a:gd name="connsiteY23" fmla="*/ 266700 h 694154"/>
                <a:gd name="connsiteX24" fmla="*/ 28575 w 742950"/>
                <a:gd name="connsiteY24" fmla="*/ 257175 h 694154"/>
                <a:gd name="connsiteX25" fmla="*/ 57150 w 742950"/>
                <a:gd name="connsiteY25" fmla="*/ 142875 h 694154"/>
                <a:gd name="connsiteX26" fmla="*/ 95250 w 742950"/>
                <a:gd name="connsiteY26" fmla="*/ 57150 h 694154"/>
                <a:gd name="connsiteX27" fmla="*/ 123825 w 742950"/>
                <a:gd name="connsiteY27" fmla="*/ 38100 h 694154"/>
                <a:gd name="connsiteX28" fmla="*/ 180975 w 742950"/>
                <a:gd name="connsiteY28" fmla="*/ 57150 h 694154"/>
                <a:gd name="connsiteX29" fmla="*/ 209550 w 742950"/>
                <a:gd name="connsiteY29" fmla="*/ 66675 h 694154"/>
                <a:gd name="connsiteX30" fmla="*/ 314325 w 742950"/>
                <a:gd name="connsiteY30" fmla="*/ 28575 h 694154"/>
                <a:gd name="connsiteX31" fmla="*/ 323850 w 742950"/>
                <a:gd name="connsiteY31" fmla="*/ 0 h 694154"/>
                <a:gd name="connsiteX32" fmla="*/ 352425 w 742950"/>
                <a:gd name="connsiteY32" fmla="*/ 9525 h 694154"/>
                <a:gd name="connsiteX33" fmla="*/ 361950 w 742950"/>
                <a:gd name="connsiteY33" fmla="*/ 38100 h 694154"/>
                <a:gd name="connsiteX34" fmla="*/ 381000 w 742950"/>
                <a:gd name="connsiteY34" fmla="*/ 66675 h 694154"/>
                <a:gd name="connsiteX35" fmla="*/ 438150 w 742950"/>
                <a:gd name="connsiteY35" fmla="*/ 104775 h 694154"/>
                <a:gd name="connsiteX36" fmla="*/ 495300 w 742950"/>
                <a:gd name="connsiteY36" fmla="*/ 123825 h 694154"/>
                <a:gd name="connsiteX37" fmla="*/ 533400 w 742950"/>
                <a:gd name="connsiteY37" fmla="*/ 142875 h 694154"/>
                <a:gd name="connsiteX38" fmla="*/ 561975 w 742950"/>
                <a:gd name="connsiteY38" fmla="*/ 152400 h 694154"/>
                <a:gd name="connsiteX39" fmla="*/ 628650 w 742950"/>
                <a:gd name="connsiteY39" fmla="*/ 238125 h 694154"/>
                <a:gd name="connsiteX40" fmla="*/ 685800 w 742950"/>
                <a:gd name="connsiteY40" fmla="*/ 257175 h 694154"/>
                <a:gd name="connsiteX41" fmla="*/ 714375 w 742950"/>
                <a:gd name="connsiteY41" fmla="*/ 266700 h 694154"/>
                <a:gd name="connsiteX42" fmla="*/ 742950 w 742950"/>
                <a:gd name="connsiteY42" fmla="*/ 285750 h 694154"/>
                <a:gd name="connsiteX43" fmla="*/ 723900 w 742950"/>
                <a:gd name="connsiteY43" fmla="*/ 304800 h 694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742950" h="694154">
                  <a:moveTo>
                    <a:pt x="723900" y="304800"/>
                  </a:moveTo>
                  <a:cubicBezTo>
                    <a:pt x="707135" y="355095"/>
                    <a:pt x="722729" y="327806"/>
                    <a:pt x="657225" y="371475"/>
                  </a:cubicBezTo>
                  <a:lnTo>
                    <a:pt x="628650" y="390525"/>
                  </a:lnTo>
                  <a:lnTo>
                    <a:pt x="609600" y="447675"/>
                  </a:lnTo>
                  <a:lnTo>
                    <a:pt x="600075" y="476250"/>
                  </a:lnTo>
                  <a:cubicBezTo>
                    <a:pt x="603250" y="485775"/>
                    <a:pt x="609600" y="494785"/>
                    <a:pt x="609600" y="504825"/>
                  </a:cubicBezTo>
                  <a:cubicBezTo>
                    <a:pt x="609600" y="533550"/>
                    <a:pt x="567414" y="574233"/>
                    <a:pt x="561975" y="590550"/>
                  </a:cubicBezTo>
                  <a:cubicBezTo>
                    <a:pt x="558800" y="600075"/>
                    <a:pt x="555208" y="609471"/>
                    <a:pt x="552450" y="619125"/>
                  </a:cubicBezTo>
                  <a:cubicBezTo>
                    <a:pt x="548854" y="631712"/>
                    <a:pt x="548082" y="645193"/>
                    <a:pt x="542925" y="657225"/>
                  </a:cubicBezTo>
                  <a:cubicBezTo>
                    <a:pt x="538416" y="667747"/>
                    <a:pt x="530225" y="676275"/>
                    <a:pt x="523875" y="685800"/>
                  </a:cubicBezTo>
                  <a:cubicBezTo>
                    <a:pt x="452051" y="661859"/>
                    <a:pt x="540583" y="694154"/>
                    <a:pt x="466725" y="657225"/>
                  </a:cubicBezTo>
                  <a:cubicBezTo>
                    <a:pt x="457745" y="652735"/>
                    <a:pt x="447130" y="652190"/>
                    <a:pt x="438150" y="647700"/>
                  </a:cubicBezTo>
                  <a:cubicBezTo>
                    <a:pt x="427911" y="642580"/>
                    <a:pt x="419814" y="633770"/>
                    <a:pt x="409575" y="628650"/>
                  </a:cubicBezTo>
                  <a:cubicBezTo>
                    <a:pt x="400595" y="624160"/>
                    <a:pt x="389777" y="624001"/>
                    <a:pt x="381000" y="619125"/>
                  </a:cubicBezTo>
                  <a:cubicBezTo>
                    <a:pt x="282744" y="564538"/>
                    <a:pt x="359933" y="593053"/>
                    <a:pt x="295275" y="571500"/>
                  </a:cubicBezTo>
                  <a:cubicBezTo>
                    <a:pt x="288925" y="561975"/>
                    <a:pt x="280245" y="553644"/>
                    <a:pt x="276225" y="542925"/>
                  </a:cubicBezTo>
                  <a:cubicBezTo>
                    <a:pt x="270541" y="527766"/>
                    <a:pt x="274732" y="509356"/>
                    <a:pt x="266700" y="495300"/>
                  </a:cubicBezTo>
                  <a:cubicBezTo>
                    <a:pt x="261020" y="485361"/>
                    <a:pt x="247650" y="482600"/>
                    <a:pt x="238125" y="476250"/>
                  </a:cubicBezTo>
                  <a:cubicBezTo>
                    <a:pt x="231775" y="466725"/>
                    <a:pt x="228014" y="454826"/>
                    <a:pt x="219075" y="447675"/>
                  </a:cubicBezTo>
                  <a:cubicBezTo>
                    <a:pt x="211235" y="441403"/>
                    <a:pt x="200404" y="439801"/>
                    <a:pt x="190500" y="438150"/>
                  </a:cubicBezTo>
                  <a:cubicBezTo>
                    <a:pt x="162140" y="433423"/>
                    <a:pt x="133350" y="431800"/>
                    <a:pt x="104775" y="428625"/>
                  </a:cubicBezTo>
                  <a:cubicBezTo>
                    <a:pt x="92075" y="409575"/>
                    <a:pt x="73915" y="393195"/>
                    <a:pt x="66675" y="371475"/>
                  </a:cubicBezTo>
                  <a:cubicBezTo>
                    <a:pt x="57244" y="343181"/>
                    <a:pt x="51216" y="308391"/>
                    <a:pt x="28575" y="285750"/>
                  </a:cubicBezTo>
                  <a:cubicBezTo>
                    <a:pt x="20480" y="277655"/>
                    <a:pt x="9525" y="273050"/>
                    <a:pt x="0" y="266700"/>
                  </a:cubicBezTo>
                  <a:cubicBezTo>
                    <a:pt x="9525" y="263525"/>
                    <a:pt x="22739" y="265345"/>
                    <a:pt x="28575" y="257175"/>
                  </a:cubicBezTo>
                  <a:cubicBezTo>
                    <a:pt x="48509" y="229267"/>
                    <a:pt x="49347" y="174087"/>
                    <a:pt x="57150" y="142875"/>
                  </a:cubicBezTo>
                  <a:cubicBezTo>
                    <a:pt x="63438" y="117724"/>
                    <a:pt x="74401" y="77999"/>
                    <a:pt x="95250" y="57150"/>
                  </a:cubicBezTo>
                  <a:cubicBezTo>
                    <a:pt x="103345" y="49055"/>
                    <a:pt x="114300" y="44450"/>
                    <a:pt x="123825" y="38100"/>
                  </a:cubicBezTo>
                  <a:lnTo>
                    <a:pt x="180975" y="57150"/>
                  </a:lnTo>
                  <a:lnTo>
                    <a:pt x="209550" y="66675"/>
                  </a:lnTo>
                  <a:cubicBezTo>
                    <a:pt x="283385" y="58471"/>
                    <a:pt x="288591" y="80043"/>
                    <a:pt x="314325" y="28575"/>
                  </a:cubicBezTo>
                  <a:cubicBezTo>
                    <a:pt x="318815" y="19595"/>
                    <a:pt x="320675" y="9525"/>
                    <a:pt x="323850" y="0"/>
                  </a:cubicBezTo>
                  <a:cubicBezTo>
                    <a:pt x="333375" y="3175"/>
                    <a:pt x="345325" y="2425"/>
                    <a:pt x="352425" y="9525"/>
                  </a:cubicBezTo>
                  <a:cubicBezTo>
                    <a:pt x="359525" y="16625"/>
                    <a:pt x="357460" y="29120"/>
                    <a:pt x="361950" y="38100"/>
                  </a:cubicBezTo>
                  <a:cubicBezTo>
                    <a:pt x="367070" y="48339"/>
                    <a:pt x="372385" y="59137"/>
                    <a:pt x="381000" y="66675"/>
                  </a:cubicBezTo>
                  <a:cubicBezTo>
                    <a:pt x="398230" y="81752"/>
                    <a:pt x="416430" y="97535"/>
                    <a:pt x="438150" y="104775"/>
                  </a:cubicBezTo>
                  <a:lnTo>
                    <a:pt x="495300" y="123825"/>
                  </a:lnTo>
                  <a:cubicBezTo>
                    <a:pt x="552450" y="104775"/>
                    <a:pt x="501650" y="111125"/>
                    <a:pt x="533400" y="142875"/>
                  </a:cubicBezTo>
                  <a:cubicBezTo>
                    <a:pt x="540500" y="149975"/>
                    <a:pt x="552450" y="149225"/>
                    <a:pt x="561975" y="152400"/>
                  </a:cubicBezTo>
                  <a:cubicBezTo>
                    <a:pt x="571742" y="167051"/>
                    <a:pt x="604951" y="224959"/>
                    <a:pt x="628650" y="238125"/>
                  </a:cubicBezTo>
                  <a:cubicBezTo>
                    <a:pt x="646203" y="247877"/>
                    <a:pt x="666750" y="250825"/>
                    <a:pt x="685800" y="257175"/>
                  </a:cubicBezTo>
                  <a:cubicBezTo>
                    <a:pt x="695325" y="260350"/>
                    <a:pt x="706021" y="261131"/>
                    <a:pt x="714375" y="266700"/>
                  </a:cubicBezTo>
                  <a:lnTo>
                    <a:pt x="742950" y="285750"/>
                  </a:lnTo>
                  <a:cubicBezTo>
                    <a:pt x="732005" y="318585"/>
                    <a:pt x="726325" y="321425"/>
                    <a:pt x="723900" y="304800"/>
                  </a:cubicBezTo>
                  <a:close/>
                </a:path>
              </a:pathLst>
            </a:custGeom>
            <a:grpFill/>
            <a:ln w="12700" cap="flat" cmpd="sng" algn="ctr">
              <a:solidFill>
                <a:schemeClr val="bg1"/>
              </a:solidFill>
              <a:prstDash val="solid"/>
              <a:round/>
              <a:headEnd type="none" w="sm" len="sm"/>
              <a:tailEnd type="none" w="sm" len="sm"/>
            </a:ln>
            <a:effectLst/>
          </p:spPr>
          <p:txBody>
            <a:bodyPr/>
            <a:lstStyle/>
            <a:p>
              <a:pPr>
                <a:defRPr/>
              </a:pPr>
              <a:endParaRPr lang="en-GB" dirty="0">
                <a:solidFill>
                  <a:srgbClr val="626469"/>
                </a:solidFill>
              </a:endParaRPr>
            </a:p>
          </p:txBody>
        </p:sp>
        <p:sp>
          <p:nvSpPr>
            <p:cNvPr id="17" name="Freeform 16"/>
            <p:cNvSpPr/>
            <p:nvPr/>
          </p:nvSpPr>
          <p:spPr bwMode="auto">
            <a:xfrm>
              <a:off x="2867025" y="5283200"/>
              <a:ext cx="1257300" cy="1187450"/>
            </a:xfrm>
            <a:custGeom>
              <a:avLst/>
              <a:gdLst>
                <a:gd name="connsiteX0" fmla="*/ 1554820 w 1670771"/>
                <a:gd name="connsiteY0" fmla="*/ 697570 h 1564345"/>
                <a:gd name="connsiteX1" fmla="*/ 1554820 w 1670771"/>
                <a:gd name="connsiteY1" fmla="*/ 754720 h 1564345"/>
                <a:gd name="connsiteX2" fmla="*/ 1545295 w 1670771"/>
                <a:gd name="connsiteY2" fmla="*/ 783295 h 1564345"/>
                <a:gd name="connsiteX3" fmla="*/ 1535770 w 1670771"/>
                <a:gd name="connsiteY3" fmla="*/ 821395 h 1564345"/>
                <a:gd name="connsiteX4" fmla="*/ 1497670 w 1670771"/>
                <a:gd name="connsiteY4" fmla="*/ 878545 h 1564345"/>
                <a:gd name="connsiteX5" fmla="*/ 1507195 w 1670771"/>
                <a:gd name="connsiteY5" fmla="*/ 907120 h 1564345"/>
                <a:gd name="connsiteX6" fmla="*/ 1535770 w 1670771"/>
                <a:gd name="connsiteY6" fmla="*/ 926170 h 1564345"/>
                <a:gd name="connsiteX7" fmla="*/ 1554820 w 1670771"/>
                <a:gd name="connsiteY7" fmla="*/ 954745 h 1564345"/>
                <a:gd name="connsiteX8" fmla="*/ 1545295 w 1670771"/>
                <a:gd name="connsiteY8" fmla="*/ 983320 h 1564345"/>
                <a:gd name="connsiteX9" fmla="*/ 1602445 w 1670771"/>
                <a:gd name="connsiteY9" fmla="*/ 1011895 h 1564345"/>
                <a:gd name="connsiteX10" fmla="*/ 1659595 w 1670771"/>
                <a:gd name="connsiteY10" fmla="*/ 1049995 h 1564345"/>
                <a:gd name="connsiteX11" fmla="*/ 1669120 w 1670771"/>
                <a:gd name="connsiteY11" fmla="*/ 1078570 h 1564345"/>
                <a:gd name="connsiteX12" fmla="*/ 1650070 w 1670771"/>
                <a:gd name="connsiteY12" fmla="*/ 1107145 h 1564345"/>
                <a:gd name="connsiteX13" fmla="*/ 1592920 w 1670771"/>
                <a:gd name="connsiteY13" fmla="*/ 1126195 h 1564345"/>
                <a:gd name="connsiteX14" fmla="*/ 1526245 w 1670771"/>
                <a:gd name="connsiteY14" fmla="*/ 1145245 h 1564345"/>
                <a:gd name="connsiteX15" fmla="*/ 1488145 w 1670771"/>
                <a:gd name="connsiteY15" fmla="*/ 1202395 h 1564345"/>
                <a:gd name="connsiteX16" fmla="*/ 1469095 w 1670771"/>
                <a:gd name="connsiteY16" fmla="*/ 1230970 h 1564345"/>
                <a:gd name="connsiteX17" fmla="*/ 1440520 w 1670771"/>
                <a:gd name="connsiteY17" fmla="*/ 1240495 h 1564345"/>
                <a:gd name="connsiteX18" fmla="*/ 1430995 w 1670771"/>
                <a:gd name="connsiteY18" fmla="*/ 1307170 h 1564345"/>
                <a:gd name="connsiteX19" fmla="*/ 1450045 w 1670771"/>
                <a:gd name="connsiteY19" fmla="*/ 1364320 h 1564345"/>
                <a:gd name="connsiteX20" fmla="*/ 1430995 w 1670771"/>
                <a:gd name="connsiteY20" fmla="*/ 1430995 h 1564345"/>
                <a:gd name="connsiteX21" fmla="*/ 1411945 w 1670771"/>
                <a:gd name="connsiteY21" fmla="*/ 1488145 h 1564345"/>
                <a:gd name="connsiteX22" fmla="*/ 1383370 w 1670771"/>
                <a:gd name="connsiteY22" fmla="*/ 1545295 h 1564345"/>
                <a:gd name="connsiteX23" fmla="*/ 1354795 w 1670771"/>
                <a:gd name="connsiteY23" fmla="*/ 1564345 h 1564345"/>
                <a:gd name="connsiteX24" fmla="*/ 1326220 w 1670771"/>
                <a:gd name="connsiteY24" fmla="*/ 1554820 h 1564345"/>
                <a:gd name="connsiteX25" fmla="*/ 1297645 w 1670771"/>
                <a:gd name="connsiteY25" fmla="*/ 1488145 h 1564345"/>
                <a:gd name="connsiteX26" fmla="*/ 1288120 w 1670771"/>
                <a:gd name="connsiteY26" fmla="*/ 1383370 h 1564345"/>
                <a:gd name="connsiteX27" fmla="*/ 1278595 w 1670771"/>
                <a:gd name="connsiteY27" fmla="*/ 1354795 h 1564345"/>
                <a:gd name="connsiteX28" fmla="*/ 1183345 w 1670771"/>
                <a:gd name="connsiteY28" fmla="*/ 1345270 h 1564345"/>
                <a:gd name="connsiteX29" fmla="*/ 1154770 w 1670771"/>
                <a:gd name="connsiteY29" fmla="*/ 1326220 h 1564345"/>
                <a:gd name="connsiteX30" fmla="*/ 1135720 w 1670771"/>
                <a:gd name="connsiteY30" fmla="*/ 1297645 h 1564345"/>
                <a:gd name="connsiteX31" fmla="*/ 1078570 w 1670771"/>
                <a:gd name="connsiteY31" fmla="*/ 1278595 h 1564345"/>
                <a:gd name="connsiteX32" fmla="*/ 1049995 w 1670771"/>
                <a:gd name="connsiteY32" fmla="*/ 1250020 h 1564345"/>
                <a:gd name="connsiteX33" fmla="*/ 983320 w 1670771"/>
                <a:gd name="connsiteY33" fmla="*/ 1269070 h 1564345"/>
                <a:gd name="connsiteX34" fmla="*/ 973795 w 1670771"/>
                <a:gd name="connsiteY34" fmla="*/ 1297645 h 1564345"/>
                <a:gd name="connsiteX35" fmla="*/ 897595 w 1670771"/>
                <a:gd name="connsiteY35" fmla="*/ 1297645 h 1564345"/>
                <a:gd name="connsiteX36" fmla="*/ 840445 w 1670771"/>
                <a:gd name="connsiteY36" fmla="*/ 1259545 h 1564345"/>
                <a:gd name="connsiteX37" fmla="*/ 783295 w 1670771"/>
                <a:gd name="connsiteY37" fmla="*/ 1278595 h 1564345"/>
                <a:gd name="connsiteX38" fmla="*/ 754720 w 1670771"/>
                <a:gd name="connsiteY38" fmla="*/ 1259545 h 1564345"/>
                <a:gd name="connsiteX39" fmla="*/ 716620 w 1670771"/>
                <a:gd name="connsiteY39" fmla="*/ 1221445 h 1564345"/>
                <a:gd name="connsiteX40" fmla="*/ 688045 w 1670771"/>
                <a:gd name="connsiteY40" fmla="*/ 1240495 h 1564345"/>
                <a:gd name="connsiteX41" fmla="*/ 630895 w 1670771"/>
                <a:gd name="connsiteY41" fmla="*/ 1269070 h 1564345"/>
                <a:gd name="connsiteX42" fmla="*/ 592795 w 1670771"/>
                <a:gd name="connsiteY42" fmla="*/ 1259545 h 1564345"/>
                <a:gd name="connsiteX43" fmla="*/ 564220 w 1670771"/>
                <a:gd name="connsiteY43" fmla="*/ 1250020 h 1564345"/>
                <a:gd name="connsiteX44" fmla="*/ 507070 w 1670771"/>
                <a:gd name="connsiteY44" fmla="*/ 1269070 h 1564345"/>
                <a:gd name="connsiteX45" fmla="*/ 468970 w 1670771"/>
                <a:gd name="connsiteY45" fmla="*/ 1230970 h 1564345"/>
                <a:gd name="connsiteX46" fmla="*/ 440395 w 1670771"/>
                <a:gd name="connsiteY46" fmla="*/ 1221445 h 1564345"/>
                <a:gd name="connsiteX47" fmla="*/ 392770 w 1670771"/>
                <a:gd name="connsiteY47" fmla="*/ 1269070 h 1564345"/>
                <a:gd name="connsiteX48" fmla="*/ 421345 w 1670771"/>
                <a:gd name="connsiteY48" fmla="*/ 1326220 h 1564345"/>
                <a:gd name="connsiteX49" fmla="*/ 430870 w 1670771"/>
                <a:gd name="connsiteY49" fmla="*/ 1354795 h 1564345"/>
                <a:gd name="connsiteX50" fmla="*/ 440395 w 1670771"/>
                <a:gd name="connsiteY50" fmla="*/ 1392895 h 1564345"/>
                <a:gd name="connsiteX51" fmla="*/ 468970 w 1670771"/>
                <a:gd name="connsiteY51" fmla="*/ 1411945 h 1564345"/>
                <a:gd name="connsiteX52" fmla="*/ 440395 w 1670771"/>
                <a:gd name="connsiteY52" fmla="*/ 1469095 h 1564345"/>
                <a:gd name="connsiteX53" fmla="*/ 411820 w 1670771"/>
                <a:gd name="connsiteY53" fmla="*/ 1488145 h 1564345"/>
                <a:gd name="connsiteX54" fmla="*/ 326095 w 1670771"/>
                <a:gd name="connsiteY54" fmla="*/ 1440520 h 1564345"/>
                <a:gd name="connsiteX55" fmla="*/ 307045 w 1670771"/>
                <a:gd name="connsiteY55" fmla="*/ 1383370 h 1564345"/>
                <a:gd name="connsiteX56" fmla="*/ 297520 w 1670771"/>
                <a:gd name="connsiteY56" fmla="*/ 1354795 h 1564345"/>
                <a:gd name="connsiteX57" fmla="*/ 335620 w 1670771"/>
                <a:gd name="connsiteY57" fmla="*/ 1221445 h 1564345"/>
                <a:gd name="connsiteX58" fmla="*/ 364195 w 1670771"/>
                <a:gd name="connsiteY58" fmla="*/ 1164295 h 1564345"/>
                <a:gd name="connsiteX59" fmla="*/ 421345 w 1670771"/>
                <a:gd name="connsiteY59" fmla="*/ 1135720 h 1564345"/>
                <a:gd name="connsiteX60" fmla="*/ 440395 w 1670771"/>
                <a:gd name="connsiteY60" fmla="*/ 1107145 h 1564345"/>
                <a:gd name="connsiteX61" fmla="*/ 459445 w 1670771"/>
                <a:gd name="connsiteY61" fmla="*/ 1049995 h 1564345"/>
                <a:gd name="connsiteX62" fmla="*/ 478495 w 1670771"/>
                <a:gd name="connsiteY62" fmla="*/ 1021420 h 1564345"/>
                <a:gd name="connsiteX63" fmla="*/ 497545 w 1670771"/>
                <a:gd name="connsiteY63" fmla="*/ 935695 h 1564345"/>
                <a:gd name="connsiteX64" fmla="*/ 430870 w 1670771"/>
                <a:gd name="connsiteY64" fmla="*/ 888070 h 1564345"/>
                <a:gd name="connsiteX65" fmla="*/ 402295 w 1670771"/>
                <a:gd name="connsiteY65" fmla="*/ 878545 h 1564345"/>
                <a:gd name="connsiteX66" fmla="*/ 345145 w 1670771"/>
                <a:gd name="connsiteY66" fmla="*/ 897595 h 1564345"/>
                <a:gd name="connsiteX67" fmla="*/ 316570 w 1670771"/>
                <a:gd name="connsiteY67" fmla="*/ 907120 h 1564345"/>
                <a:gd name="connsiteX68" fmla="*/ 278470 w 1670771"/>
                <a:gd name="connsiteY68" fmla="*/ 916645 h 1564345"/>
                <a:gd name="connsiteX69" fmla="*/ 249895 w 1670771"/>
                <a:gd name="connsiteY69" fmla="*/ 907120 h 1564345"/>
                <a:gd name="connsiteX70" fmla="*/ 230845 w 1670771"/>
                <a:gd name="connsiteY70" fmla="*/ 878545 h 1564345"/>
                <a:gd name="connsiteX71" fmla="*/ 202270 w 1670771"/>
                <a:gd name="connsiteY71" fmla="*/ 859495 h 1564345"/>
                <a:gd name="connsiteX72" fmla="*/ 145120 w 1670771"/>
                <a:gd name="connsiteY72" fmla="*/ 849970 h 1564345"/>
                <a:gd name="connsiteX73" fmla="*/ 164170 w 1670771"/>
                <a:gd name="connsiteY73" fmla="*/ 792820 h 1564345"/>
                <a:gd name="connsiteX74" fmla="*/ 154645 w 1670771"/>
                <a:gd name="connsiteY74" fmla="*/ 754720 h 1564345"/>
                <a:gd name="connsiteX75" fmla="*/ 126070 w 1670771"/>
                <a:gd name="connsiteY75" fmla="*/ 735670 h 1564345"/>
                <a:gd name="connsiteX76" fmla="*/ 145120 w 1670771"/>
                <a:gd name="connsiteY76" fmla="*/ 659470 h 1564345"/>
                <a:gd name="connsiteX77" fmla="*/ 135595 w 1670771"/>
                <a:gd name="connsiteY77" fmla="*/ 630895 h 1564345"/>
                <a:gd name="connsiteX78" fmla="*/ 107020 w 1670771"/>
                <a:gd name="connsiteY78" fmla="*/ 611845 h 1564345"/>
                <a:gd name="connsiteX79" fmla="*/ 135595 w 1670771"/>
                <a:gd name="connsiteY79" fmla="*/ 554695 h 1564345"/>
                <a:gd name="connsiteX80" fmla="*/ 97495 w 1670771"/>
                <a:gd name="connsiteY80" fmla="*/ 468970 h 1564345"/>
                <a:gd name="connsiteX81" fmla="*/ 21295 w 1670771"/>
                <a:gd name="connsiteY81" fmla="*/ 449920 h 1564345"/>
                <a:gd name="connsiteX82" fmla="*/ 2245 w 1670771"/>
                <a:gd name="connsiteY82" fmla="*/ 421345 h 1564345"/>
                <a:gd name="connsiteX83" fmla="*/ 30820 w 1670771"/>
                <a:gd name="connsiteY83" fmla="*/ 402295 h 1564345"/>
                <a:gd name="connsiteX84" fmla="*/ 40345 w 1670771"/>
                <a:gd name="connsiteY84" fmla="*/ 373720 h 1564345"/>
                <a:gd name="connsiteX85" fmla="*/ 59395 w 1670771"/>
                <a:gd name="connsiteY85" fmla="*/ 345145 h 1564345"/>
                <a:gd name="connsiteX86" fmla="*/ 68920 w 1670771"/>
                <a:gd name="connsiteY86" fmla="*/ 97495 h 1564345"/>
                <a:gd name="connsiteX87" fmla="*/ 87970 w 1670771"/>
                <a:gd name="connsiteY87" fmla="*/ 68920 h 1564345"/>
                <a:gd name="connsiteX88" fmla="*/ 97495 w 1670771"/>
                <a:gd name="connsiteY88" fmla="*/ 40345 h 1564345"/>
                <a:gd name="connsiteX89" fmla="*/ 126070 w 1670771"/>
                <a:gd name="connsiteY89" fmla="*/ 30820 h 1564345"/>
                <a:gd name="connsiteX90" fmla="*/ 145120 w 1670771"/>
                <a:gd name="connsiteY90" fmla="*/ 2245 h 1564345"/>
                <a:gd name="connsiteX91" fmla="*/ 173695 w 1670771"/>
                <a:gd name="connsiteY91" fmla="*/ 21295 h 1564345"/>
                <a:gd name="connsiteX92" fmla="*/ 202270 w 1670771"/>
                <a:gd name="connsiteY92" fmla="*/ 126070 h 1564345"/>
                <a:gd name="connsiteX93" fmla="*/ 259420 w 1670771"/>
                <a:gd name="connsiteY93" fmla="*/ 154645 h 1564345"/>
                <a:gd name="connsiteX94" fmla="*/ 297520 w 1670771"/>
                <a:gd name="connsiteY94" fmla="*/ 145120 h 1564345"/>
                <a:gd name="connsiteX95" fmla="*/ 326095 w 1670771"/>
                <a:gd name="connsiteY95" fmla="*/ 154645 h 1564345"/>
                <a:gd name="connsiteX96" fmla="*/ 364195 w 1670771"/>
                <a:gd name="connsiteY96" fmla="*/ 164170 h 1564345"/>
                <a:gd name="connsiteX97" fmla="*/ 373720 w 1670771"/>
                <a:gd name="connsiteY97" fmla="*/ 192745 h 1564345"/>
                <a:gd name="connsiteX98" fmla="*/ 402295 w 1670771"/>
                <a:gd name="connsiteY98" fmla="*/ 211795 h 1564345"/>
                <a:gd name="connsiteX99" fmla="*/ 449920 w 1670771"/>
                <a:gd name="connsiteY99" fmla="*/ 287995 h 1564345"/>
                <a:gd name="connsiteX100" fmla="*/ 478495 w 1670771"/>
                <a:gd name="connsiteY100" fmla="*/ 297520 h 1564345"/>
                <a:gd name="connsiteX101" fmla="*/ 535645 w 1670771"/>
                <a:gd name="connsiteY101" fmla="*/ 345145 h 1564345"/>
                <a:gd name="connsiteX102" fmla="*/ 592795 w 1670771"/>
                <a:gd name="connsiteY102" fmla="*/ 364195 h 1564345"/>
                <a:gd name="connsiteX103" fmla="*/ 649945 w 1670771"/>
                <a:gd name="connsiteY103" fmla="*/ 392770 h 1564345"/>
                <a:gd name="connsiteX104" fmla="*/ 688045 w 1670771"/>
                <a:gd name="connsiteY104" fmla="*/ 383245 h 1564345"/>
                <a:gd name="connsiteX105" fmla="*/ 716620 w 1670771"/>
                <a:gd name="connsiteY105" fmla="*/ 373720 h 1564345"/>
                <a:gd name="connsiteX106" fmla="*/ 745195 w 1670771"/>
                <a:gd name="connsiteY106" fmla="*/ 392770 h 1564345"/>
                <a:gd name="connsiteX107" fmla="*/ 773770 w 1670771"/>
                <a:gd name="connsiteY107" fmla="*/ 383245 h 1564345"/>
                <a:gd name="connsiteX108" fmla="*/ 830920 w 1670771"/>
                <a:gd name="connsiteY108" fmla="*/ 402295 h 1564345"/>
                <a:gd name="connsiteX109" fmla="*/ 869020 w 1670771"/>
                <a:gd name="connsiteY109" fmla="*/ 411820 h 1564345"/>
                <a:gd name="connsiteX110" fmla="*/ 916645 w 1670771"/>
                <a:gd name="connsiteY110" fmla="*/ 459445 h 1564345"/>
                <a:gd name="connsiteX111" fmla="*/ 945220 w 1670771"/>
                <a:gd name="connsiteY111" fmla="*/ 516595 h 1564345"/>
                <a:gd name="connsiteX112" fmla="*/ 1002370 w 1670771"/>
                <a:gd name="connsiteY112" fmla="*/ 535645 h 1564345"/>
                <a:gd name="connsiteX113" fmla="*/ 1030945 w 1670771"/>
                <a:gd name="connsiteY113" fmla="*/ 554695 h 1564345"/>
                <a:gd name="connsiteX114" fmla="*/ 1040470 w 1670771"/>
                <a:gd name="connsiteY114" fmla="*/ 583270 h 1564345"/>
                <a:gd name="connsiteX115" fmla="*/ 1126195 w 1670771"/>
                <a:gd name="connsiteY115" fmla="*/ 621370 h 1564345"/>
                <a:gd name="connsiteX116" fmla="*/ 1154770 w 1670771"/>
                <a:gd name="connsiteY116" fmla="*/ 630895 h 1564345"/>
                <a:gd name="connsiteX117" fmla="*/ 1259545 w 1670771"/>
                <a:gd name="connsiteY117" fmla="*/ 649945 h 1564345"/>
                <a:gd name="connsiteX118" fmla="*/ 1297645 w 1670771"/>
                <a:gd name="connsiteY118" fmla="*/ 697570 h 1564345"/>
                <a:gd name="connsiteX119" fmla="*/ 1326220 w 1670771"/>
                <a:gd name="connsiteY119" fmla="*/ 688045 h 1564345"/>
                <a:gd name="connsiteX120" fmla="*/ 1354795 w 1670771"/>
                <a:gd name="connsiteY120" fmla="*/ 697570 h 1564345"/>
                <a:gd name="connsiteX121" fmla="*/ 1421470 w 1670771"/>
                <a:gd name="connsiteY121" fmla="*/ 678520 h 1564345"/>
                <a:gd name="connsiteX122" fmla="*/ 1459570 w 1670771"/>
                <a:gd name="connsiteY122" fmla="*/ 688045 h 1564345"/>
                <a:gd name="connsiteX123" fmla="*/ 1488145 w 1670771"/>
                <a:gd name="connsiteY123" fmla="*/ 697570 h 1564345"/>
                <a:gd name="connsiteX124" fmla="*/ 1526245 w 1670771"/>
                <a:gd name="connsiteY124" fmla="*/ 707095 h 1564345"/>
                <a:gd name="connsiteX125" fmla="*/ 1554820 w 1670771"/>
                <a:gd name="connsiteY125" fmla="*/ 697570 h 156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1670771" h="1564345">
                  <a:moveTo>
                    <a:pt x="1554820" y="697570"/>
                  </a:moveTo>
                  <a:cubicBezTo>
                    <a:pt x="1559583" y="705508"/>
                    <a:pt x="1554820" y="678520"/>
                    <a:pt x="1554820" y="754720"/>
                  </a:cubicBezTo>
                  <a:cubicBezTo>
                    <a:pt x="1554820" y="764760"/>
                    <a:pt x="1548053" y="773641"/>
                    <a:pt x="1545295" y="783295"/>
                  </a:cubicBezTo>
                  <a:cubicBezTo>
                    <a:pt x="1541699" y="795882"/>
                    <a:pt x="1541624" y="809686"/>
                    <a:pt x="1535770" y="821395"/>
                  </a:cubicBezTo>
                  <a:cubicBezTo>
                    <a:pt x="1525531" y="841873"/>
                    <a:pt x="1497670" y="878545"/>
                    <a:pt x="1497670" y="878545"/>
                  </a:cubicBezTo>
                  <a:cubicBezTo>
                    <a:pt x="1500845" y="888070"/>
                    <a:pt x="1500923" y="899280"/>
                    <a:pt x="1507195" y="907120"/>
                  </a:cubicBezTo>
                  <a:cubicBezTo>
                    <a:pt x="1514346" y="916059"/>
                    <a:pt x="1527675" y="918075"/>
                    <a:pt x="1535770" y="926170"/>
                  </a:cubicBezTo>
                  <a:cubicBezTo>
                    <a:pt x="1543865" y="934265"/>
                    <a:pt x="1548470" y="945220"/>
                    <a:pt x="1554820" y="954745"/>
                  </a:cubicBezTo>
                  <a:cubicBezTo>
                    <a:pt x="1551645" y="964270"/>
                    <a:pt x="1541566" y="973998"/>
                    <a:pt x="1545295" y="983320"/>
                  </a:cubicBezTo>
                  <a:cubicBezTo>
                    <a:pt x="1552544" y="1001442"/>
                    <a:pt x="1589041" y="1004448"/>
                    <a:pt x="1602445" y="1011895"/>
                  </a:cubicBezTo>
                  <a:cubicBezTo>
                    <a:pt x="1622459" y="1023014"/>
                    <a:pt x="1659595" y="1049995"/>
                    <a:pt x="1659595" y="1049995"/>
                  </a:cubicBezTo>
                  <a:cubicBezTo>
                    <a:pt x="1662770" y="1059520"/>
                    <a:pt x="1670771" y="1068666"/>
                    <a:pt x="1669120" y="1078570"/>
                  </a:cubicBezTo>
                  <a:cubicBezTo>
                    <a:pt x="1667238" y="1089862"/>
                    <a:pt x="1659778" y="1101078"/>
                    <a:pt x="1650070" y="1107145"/>
                  </a:cubicBezTo>
                  <a:cubicBezTo>
                    <a:pt x="1633042" y="1117788"/>
                    <a:pt x="1612401" y="1121325"/>
                    <a:pt x="1592920" y="1126195"/>
                  </a:cubicBezTo>
                  <a:cubicBezTo>
                    <a:pt x="1545080" y="1138155"/>
                    <a:pt x="1567239" y="1131580"/>
                    <a:pt x="1526245" y="1145245"/>
                  </a:cubicBezTo>
                  <a:lnTo>
                    <a:pt x="1488145" y="1202395"/>
                  </a:lnTo>
                  <a:cubicBezTo>
                    <a:pt x="1481795" y="1211920"/>
                    <a:pt x="1479955" y="1227350"/>
                    <a:pt x="1469095" y="1230970"/>
                  </a:cubicBezTo>
                  <a:lnTo>
                    <a:pt x="1440520" y="1240495"/>
                  </a:lnTo>
                  <a:cubicBezTo>
                    <a:pt x="1415692" y="1277737"/>
                    <a:pt x="1416997" y="1260509"/>
                    <a:pt x="1430995" y="1307170"/>
                  </a:cubicBezTo>
                  <a:cubicBezTo>
                    <a:pt x="1436765" y="1326404"/>
                    <a:pt x="1450045" y="1364320"/>
                    <a:pt x="1450045" y="1364320"/>
                  </a:cubicBezTo>
                  <a:cubicBezTo>
                    <a:pt x="1418034" y="1460352"/>
                    <a:pt x="1466875" y="1311394"/>
                    <a:pt x="1430995" y="1430995"/>
                  </a:cubicBezTo>
                  <a:cubicBezTo>
                    <a:pt x="1425225" y="1450229"/>
                    <a:pt x="1418295" y="1469095"/>
                    <a:pt x="1411945" y="1488145"/>
                  </a:cubicBezTo>
                  <a:cubicBezTo>
                    <a:pt x="1404198" y="1511386"/>
                    <a:pt x="1401834" y="1526831"/>
                    <a:pt x="1383370" y="1545295"/>
                  </a:cubicBezTo>
                  <a:cubicBezTo>
                    <a:pt x="1375275" y="1553390"/>
                    <a:pt x="1364320" y="1557995"/>
                    <a:pt x="1354795" y="1564345"/>
                  </a:cubicBezTo>
                  <a:cubicBezTo>
                    <a:pt x="1345270" y="1561170"/>
                    <a:pt x="1334060" y="1561092"/>
                    <a:pt x="1326220" y="1554820"/>
                  </a:cubicBezTo>
                  <a:cubicBezTo>
                    <a:pt x="1305664" y="1538375"/>
                    <a:pt x="1303365" y="1511024"/>
                    <a:pt x="1297645" y="1488145"/>
                  </a:cubicBezTo>
                  <a:cubicBezTo>
                    <a:pt x="1294470" y="1453220"/>
                    <a:pt x="1293080" y="1418087"/>
                    <a:pt x="1288120" y="1383370"/>
                  </a:cubicBezTo>
                  <a:cubicBezTo>
                    <a:pt x="1286700" y="1373431"/>
                    <a:pt x="1288031" y="1358226"/>
                    <a:pt x="1278595" y="1354795"/>
                  </a:cubicBezTo>
                  <a:cubicBezTo>
                    <a:pt x="1248608" y="1343891"/>
                    <a:pt x="1215095" y="1348445"/>
                    <a:pt x="1183345" y="1345270"/>
                  </a:cubicBezTo>
                  <a:cubicBezTo>
                    <a:pt x="1173820" y="1338920"/>
                    <a:pt x="1162865" y="1334315"/>
                    <a:pt x="1154770" y="1326220"/>
                  </a:cubicBezTo>
                  <a:cubicBezTo>
                    <a:pt x="1146675" y="1318125"/>
                    <a:pt x="1145428" y="1303712"/>
                    <a:pt x="1135720" y="1297645"/>
                  </a:cubicBezTo>
                  <a:cubicBezTo>
                    <a:pt x="1118692" y="1287002"/>
                    <a:pt x="1078570" y="1278595"/>
                    <a:pt x="1078570" y="1278595"/>
                  </a:cubicBezTo>
                  <a:cubicBezTo>
                    <a:pt x="1069045" y="1269070"/>
                    <a:pt x="1062947" y="1253721"/>
                    <a:pt x="1049995" y="1250020"/>
                  </a:cubicBezTo>
                  <a:lnTo>
                    <a:pt x="983320" y="1269070"/>
                  </a:lnTo>
                  <a:cubicBezTo>
                    <a:pt x="980145" y="1278595"/>
                    <a:pt x="980895" y="1290545"/>
                    <a:pt x="973795" y="1297645"/>
                  </a:cubicBezTo>
                  <a:cubicBezTo>
                    <a:pt x="954269" y="1317171"/>
                    <a:pt x="915709" y="1301268"/>
                    <a:pt x="897595" y="1297645"/>
                  </a:cubicBezTo>
                  <a:cubicBezTo>
                    <a:pt x="884113" y="1284163"/>
                    <a:pt x="865257" y="1256788"/>
                    <a:pt x="840445" y="1259545"/>
                  </a:cubicBezTo>
                  <a:cubicBezTo>
                    <a:pt x="820487" y="1261763"/>
                    <a:pt x="783295" y="1278595"/>
                    <a:pt x="783295" y="1278595"/>
                  </a:cubicBezTo>
                  <a:cubicBezTo>
                    <a:pt x="773770" y="1272245"/>
                    <a:pt x="761871" y="1268484"/>
                    <a:pt x="754720" y="1259545"/>
                  </a:cubicBezTo>
                  <a:cubicBezTo>
                    <a:pt x="717775" y="1213363"/>
                    <a:pt x="778965" y="1242227"/>
                    <a:pt x="716620" y="1221445"/>
                  </a:cubicBezTo>
                  <a:cubicBezTo>
                    <a:pt x="707095" y="1227795"/>
                    <a:pt x="698284" y="1235375"/>
                    <a:pt x="688045" y="1240495"/>
                  </a:cubicBezTo>
                  <a:cubicBezTo>
                    <a:pt x="609175" y="1279930"/>
                    <a:pt x="712787" y="1214475"/>
                    <a:pt x="630895" y="1269070"/>
                  </a:cubicBezTo>
                  <a:cubicBezTo>
                    <a:pt x="618195" y="1265895"/>
                    <a:pt x="605382" y="1263141"/>
                    <a:pt x="592795" y="1259545"/>
                  </a:cubicBezTo>
                  <a:cubicBezTo>
                    <a:pt x="583141" y="1256787"/>
                    <a:pt x="574199" y="1248911"/>
                    <a:pt x="564220" y="1250020"/>
                  </a:cubicBezTo>
                  <a:cubicBezTo>
                    <a:pt x="544262" y="1252238"/>
                    <a:pt x="507070" y="1269070"/>
                    <a:pt x="507070" y="1269070"/>
                  </a:cubicBezTo>
                  <a:cubicBezTo>
                    <a:pt x="430870" y="1243670"/>
                    <a:pt x="519770" y="1281770"/>
                    <a:pt x="468970" y="1230970"/>
                  </a:cubicBezTo>
                  <a:cubicBezTo>
                    <a:pt x="461870" y="1223870"/>
                    <a:pt x="449920" y="1224620"/>
                    <a:pt x="440395" y="1221445"/>
                  </a:cubicBezTo>
                  <a:cubicBezTo>
                    <a:pt x="423726" y="1232558"/>
                    <a:pt x="396739" y="1245258"/>
                    <a:pt x="392770" y="1269070"/>
                  </a:cubicBezTo>
                  <a:cubicBezTo>
                    <a:pt x="389777" y="1287026"/>
                    <a:pt x="415126" y="1313781"/>
                    <a:pt x="421345" y="1326220"/>
                  </a:cubicBezTo>
                  <a:cubicBezTo>
                    <a:pt x="425835" y="1335200"/>
                    <a:pt x="428112" y="1345141"/>
                    <a:pt x="430870" y="1354795"/>
                  </a:cubicBezTo>
                  <a:cubicBezTo>
                    <a:pt x="434466" y="1367382"/>
                    <a:pt x="433133" y="1382003"/>
                    <a:pt x="440395" y="1392895"/>
                  </a:cubicBezTo>
                  <a:cubicBezTo>
                    <a:pt x="446745" y="1402420"/>
                    <a:pt x="459445" y="1405595"/>
                    <a:pt x="468970" y="1411945"/>
                  </a:cubicBezTo>
                  <a:cubicBezTo>
                    <a:pt x="461223" y="1435186"/>
                    <a:pt x="458859" y="1450631"/>
                    <a:pt x="440395" y="1469095"/>
                  </a:cubicBezTo>
                  <a:cubicBezTo>
                    <a:pt x="432300" y="1477190"/>
                    <a:pt x="421345" y="1481795"/>
                    <a:pt x="411820" y="1488145"/>
                  </a:cubicBezTo>
                  <a:cubicBezTo>
                    <a:pt x="346316" y="1444476"/>
                    <a:pt x="376390" y="1457285"/>
                    <a:pt x="326095" y="1440520"/>
                  </a:cubicBezTo>
                  <a:lnTo>
                    <a:pt x="307045" y="1383370"/>
                  </a:lnTo>
                  <a:lnTo>
                    <a:pt x="297520" y="1354795"/>
                  </a:lnTo>
                  <a:cubicBezTo>
                    <a:pt x="321440" y="1259114"/>
                    <a:pt x="308291" y="1303433"/>
                    <a:pt x="335620" y="1221445"/>
                  </a:cubicBezTo>
                  <a:cubicBezTo>
                    <a:pt x="343367" y="1198204"/>
                    <a:pt x="345731" y="1182759"/>
                    <a:pt x="364195" y="1164295"/>
                  </a:cubicBezTo>
                  <a:cubicBezTo>
                    <a:pt x="382659" y="1145831"/>
                    <a:pt x="398104" y="1143467"/>
                    <a:pt x="421345" y="1135720"/>
                  </a:cubicBezTo>
                  <a:cubicBezTo>
                    <a:pt x="427695" y="1126195"/>
                    <a:pt x="435746" y="1117606"/>
                    <a:pt x="440395" y="1107145"/>
                  </a:cubicBezTo>
                  <a:cubicBezTo>
                    <a:pt x="448550" y="1088795"/>
                    <a:pt x="448306" y="1066703"/>
                    <a:pt x="459445" y="1049995"/>
                  </a:cubicBezTo>
                  <a:cubicBezTo>
                    <a:pt x="465795" y="1040470"/>
                    <a:pt x="473375" y="1031659"/>
                    <a:pt x="478495" y="1021420"/>
                  </a:cubicBezTo>
                  <a:cubicBezTo>
                    <a:pt x="490219" y="997972"/>
                    <a:pt x="493887" y="957645"/>
                    <a:pt x="497545" y="935695"/>
                  </a:cubicBezTo>
                  <a:cubicBezTo>
                    <a:pt x="481670" y="888070"/>
                    <a:pt x="497545" y="910295"/>
                    <a:pt x="430870" y="888070"/>
                  </a:cubicBezTo>
                  <a:lnTo>
                    <a:pt x="402295" y="878545"/>
                  </a:lnTo>
                  <a:lnTo>
                    <a:pt x="345145" y="897595"/>
                  </a:lnTo>
                  <a:cubicBezTo>
                    <a:pt x="335620" y="900770"/>
                    <a:pt x="326310" y="904685"/>
                    <a:pt x="316570" y="907120"/>
                  </a:cubicBezTo>
                  <a:lnTo>
                    <a:pt x="278470" y="916645"/>
                  </a:lnTo>
                  <a:cubicBezTo>
                    <a:pt x="268945" y="913470"/>
                    <a:pt x="257735" y="913392"/>
                    <a:pt x="249895" y="907120"/>
                  </a:cubicBezTo>
                  <a:cubicBezTo>
                    <a:pt x="240956" y="899969"/>
                    <a:pt x="238940" y="886640"/>
                    <a:pt x="230845" y="878545"/>
                  </a:cubicBezTo>
                  <a:cubicBezTo>
                    <a:pt x="222750" y="870450"/>
                    <a:pt x="211795" y="865845"/>
                    <a:pt x="202270" y="859495"/>
                  </a:cubicBezTo>
                  <a:cubicBezTo>
                    <a:pt x="191337" y="863139"/>
                    <a:pt x="149551" y="885422"/>
                    <a:pt x="145120" y="849970"/>
                  </a:cubicBezTo>
                  <a:cubicBezTo>
                    <a:pt x="142629" y="830045"/>
                    <a:pt x="164170" y="792820"/>
                    <a:pt x="164170" y="792820"/>
                  </a:cubicBezTo>
                  <a:cubicBezTo>
                    <a:pt x="160995" y="780120"/>
                    <a:pt x="161907" y="765612"/>
                    <a:pt x="154645" y="754720"/>
                  </a:cubicBezTo>
                  <a:cubicBezTo>
                    <a:pt x="148295" y="745195"/>
                    <a:pt x="129215" y="746677"/>
                    <a:pt x="126070" y="735670"/>
                  </a:cubicBezTo>
                  <a:cubicBezTo>
                    <a:pt x="122533" y="723292"/>
                    <a:pt x="139797" y="675439"/>
                    <a:pt x="145120" y="659470"/>
                  </a:cubicBezTo>
                  <a:cubicBezTo>
                    <a:pt x="141945" y="649945"/>
                    <a:pt x="141867" y="638735"/>
                    <a:pt x="135595" y="630895"/>
                  </a:cubicBezTo>
                  <a:cubicBezTo>
                    <a:pt x="128444" y="621956"/>
                    <a:pt x="111272" y="622474"/>
                    <a:pt x="107020" y="611845"/>
                  </a:cubicBezTo>
                  <a:cubicBezTo>
                    <a:pt x="102091" y="599522"/>
                    <a:pt x="131584" y="560712"/>
                    <a:pt x="135595" y="554695"/>
                  </a:cubicBezTo>
                  <a:cubicBezTo>
                    <a:pt x="129774" y="537232"/>
                    <a:pt x="118078" y="485437"/>
                    <a:pt x="97495" y="468970"/>
                  </a:cubicBezTo>
                  <a:cubicBezTo>
                    <a:pt x="87732" y="461160"/>
                    <a:pt x="23667" y="450394"/>
                    <a:pt x="21295" y="449920"/>
                  </a:cubicBezTo>
                  <a:cubicBezTo>
                    <a:pt x="14945" y="440395"/>
                    <a:pt x="0" y="432570"/>
                    <a:pt x="2245" y="421345"/>
                  </a:cubicBezTo>
                  <a:cubicBezTo>
                    <a:pt x="4490" y="410120"/>
                    <a:pt x="23669" y="411234"/>
                    <a:pt x="30820" y="402295"/>
                  </a:cubicBezTo>
                  <a:cubicBezTo>
                    <a:pt x="37092" y="394455"/>
                    <a:pt x="35855" y="382700"/>
                    <a:pt x="40345" y="373720"/>
                  </a:cubicBezTo>
                  <a:cubicBezTo>
                    <a:pt x="45465" y="363481"/>
                    <a:pt x="53045" y="354670"/>
                    <a:pt x="59395" y="345145"/>
                  </a:cubicBezTo>
                  <a:cubicBezTo>
                    <a:pt x="62570" y="262595"/>
                    <a:pt x="60419" y="179668"/>
                    <a:pt x="68920" y="97495"/>
                  </a:cubicBezTo>
                  <a:cubicBezTo>
                    <a:pt x="70098" y="86108"/>
                    <a:pt x="82850" y="79159"/>
                    <a:pt x="87970" y="68920"/>
                  </a:cubicBezTo>
                  <a:cubicBezTo>
                    <a:pt x="92460" y="59940"/>
                    <a:pt x="90395" y="47445"/>
                    <a:pt x="97495" y="40345"/>
                  </a:cubicBezTo>
                  <a:cubicBezTo>
                    <a:pt x="104595" y="33245"/>
                    <a:pt x="116545" y="33995"/>
                    <a:pt x="126070" y="30820"/>
                  </a:cubicBezTo>
                  <a:cubicBezTo>
                    <a:pt x="132420" y="21295"/>
                    <a:pt x="133895" y="4490"/>
                    <a:pt x="145120" y="2245"/>
                  </a:cubicBezTo>
                  <a:cubicBezTo>
                    <a:pt x="156345" y="0"/>
                    <a:pt x="166544" y="12356"/>
                    <a:pt x="173695" y="21295"/>
                  </a:cubicBezTo>
                  <a:cubicBezTo>
                    <a:pt x="197832" y="51466"/>
                    <a:pt x="164272" y="100738"/>
                    <a:pt x="202270" y="126070"/>
                  </a:cubicBezTo>
                  <a:cubicBezTo>
                    <a:pt x="239199" y="150689"/>
                    <a:pt x="219985" y="141500"/>
                    <a:pt x="259420" y="154645"/>
                  </a:cubicBezTo>
                  <a:cubicBezTo>
                    <a:pt x="272120" y="151470"/>
                    <a:pt x="284429" y="145120"/>
                    <a:pt x="297520" y="145120"/>
                  </a:cubicBezTo>
                  <a:cubicBezTo>
                    <a:pt x="307560" y="145120"/>
                    <a:pt x="316441" y="151887"/>
                    <a:pt x="326095" y="154645"/>
                  </a:cubicBezTo>
                  <a:cubicBezTo>
                    <a:pt x="338682" y="158241"/>
                    <a:pt x="351495" y="160995"/>
                    <a:pt x="364195" y="164170"/>
                  </a:cubicBezTo>
                  <a:cubicBezTo>
                    <a:pt x="367370" y="173695"/>
                    <a:pt x="367448" y="184905"/>
                    <a:pt x="373720" y="192745"/>
                  </a:cubicBezTo>
                  <a:cubicBezTo>
                    <a:pt x="380871" y="201684"/>
                    <a:pt x="396228" y="202087"/>
                    <a:pt x="402295" y="211795"/>
                  </a:cubicBezTo>
                  <a:cubicBezTo>
                    <a:pt x="441783" y="274975"/>
                    <a:pt x="395049" y="260560"/>
                    <a:pt x="449920" y="287995"/>
                  </a:cubicBezTo>
                  <a:cubicBezTo>
                    <a:pt x="458900" y="292485"/>
                    <a:pt x="468970" y="294345"/>
                    <a:pt x="478495" y="297520"/>
                  </a:cubicBezTo>
                  <a:cubicBezTo>
                    <a:pt x="496440" y="315465"/>
                    <a:pt x="511775" y="334536"/>
                    <a:pt x="535645" y="345145"/>
                  </a:cubicBezTo>
                  <a:cubicBezTo>
                    <a:pt x="553995" y="353300"/>
                    <a:pt x="576087" y="353056"/>
                    <a:pt x="592795" y="364195"/>
                  </a:cubicBezTo>
                  <a:cubicBezTo>
                    <a:pt x="629724" y="388814"/>
                    <a:pt x="610510" y="379625"/>
                    <a:pt x="649945" y="392770"/>
                  </a:cubicBezTo>
                  <a:cubicBezTo>
                    <a:pt x="662645" y="389595"/>
                    <a:pt x="675458" y="386841"/>
                    <a:pt x="688045" y="383245"/>
                  </a:cubicBezTo>
                  <a:cubicBezTo>
                    <a:pt x="697699" y="380487"/>
                    <a:pt x="706716" y="372069"/>
                    <a:pt x="716620" y="373720"/>
                  </a:cubicBezTo>
                  <a:cubicBezTo>
                    <a:pt x="727912" y="375602"/>
                    <a:pt x="735670" y="386420"/>
                    <a:pt x="745195" y="392770"/>
                  </a:cubicBezTo>
                  <a:cubicBezTo>
                    <a:pt x="754720" y="389595"/>
                    <a:pt x="763791" y="382136"/>
                    <a:pt x="773770" y="383245"/>
                  </a:cubicBezTo>
                  <a:cubicBezTo>
                    <a:pt x="793728" y="385463"/>
                    <a:pt x="811439" y="397425"/>
                    <a:pt x="830920" y="402295"/>
                  </a:cubicBezTo>
                  <a:lnTo>
                    <a:pt x="869020" y="411820"/>
                  </a:lnTo>
                  <a:cubicBezTo>
                    <a:pt x="897595" y="430870"/>
                    <a:pt x="900770" y="427695"/>
                    <a:pt x="916645" y="459445"/>
                  </a:cubicBezTo>
                  <a:cubicBezTo>
                    <a:pt x="925609" y="477374"/>
                    <a:pt x="925367" y="504187"/>
                    <a:pt x="945220" y="516595"/>
                  </a:cubicBezTo>
                  <a:cubicBezTo>
                    <a:pt x="962248" y="527238"/>
                    <a:pt x="985662" y="524506"/>
                    <a:pt x="1002370" y="535645"/>
                  </a:cubicBezTo>
                  <a:lnTo>
                    <a:pt x="1030945" y="554695"/>
                  </a:lnTo>
                  <a:cubicBezTo>
                    <a:pt x="1034120" y="564220"/>
                    <a:pt x="1034198" y="575430"/>
                    <a:pt x="1040470" y="583270"/>
                  </a:cubicBezTo>
                  <a:cubicBezTo>
                    <a:pt x="1056937" y="603853"/>
                    <a:pt x="1108732" y="615549"/>
                    <a:pt x="1126195" y="621370"/>
                  </a:cubicBezTo>
                  <a:cubicBezTo>
                    <a:pt x="1135720" y="624545"/>
                    <a:pt x="1144925" y="628926"/>
                    <a:pt x="1154770" y="630895"/>
                  </a:cubicBezTo>
                  <a:cubicBezTo>
                    <a:pt x="1221333" y="644208"/>
                    <a:pt x="1186426" y="637758"/>
                    <a:pt x="1259545" y="649945"/>
                  </a:cubicBezTo>
                  <a:cubicBezTo>
                    <a:pt x="1266974" y="672233"/>
                    <a:pt x="1267233" y="692501"/>
                    <a:pt x="1297645" y="697570"/>
                  </a:cubicBezTo>
                  <a:cubicBezTo>
                    <a:pt x="1307549" y="699221"/>
                    <a:pt x="1316695" y="691220"/>
                    <a:pt x="1326220" y="688045"/>
                  </a:cubicBezTo>
                  <a:cubicBezTo>
                    <a:pt x="1335745" y="691220"/>
                    <a:pt x="1344755" y="697570"/>
                    <a:pt x="1354795" y="697570"/>
                  </a:cubicBezTo>
                  <a:cubicBezTo>
                    <a:pt x="1366755" y="697570"/>
                    <a:pt x="1407995" y="683012"/>
                    <a:pt x="1421470" y="678520"/>
                  </a:cubicBezTo>
                  <a:cubicBezTo>
                    <a:pt x="1434170" y="681695"/>
                    <a:pt x="1446983" y="684449"/>
                    <a:pt x="1459570" y="688045"/>
                  </a:cubicBezTo>
                  <a:cubicBezTo>
                    <a:pt x="1469224" y="690803"/>
                    <a:pt x="1478491" y="694812"/>
                    <a:pt x="1488145" y="697570"/>
                  </a:cubicBezTo>
                  <a:cubicBezTo>
                    <a:pt x="1500732" y="701166"/>
                    <a:pt x="1513154" y="707095"/>
                    <a:pt x="1526245" y="707095"/>
                  </a:cubicBezTo>
                  <a:cubicBezTo>
                    <a:pt x="1530735" y="707095"/>
                    <a:pt x="1550058" y="689633"/>
                    <a:pt x="1554820" y="697570"/>
                  </a:cubicBezTo>
                  <a:close/>
                </a:path>
              </a:pathLst>
            </a:custGeom>
            <a:grpFill/>
            <a:ln w="12700" cap="flat" cmpd="sng" algn="ctr">
              <a:solidFill>
                <a:schemeClr val="bg1"/>
              </a:solidFill>
              <a:prstDash val="solid"/>
              <a:round/>
              <a:headEnd type="none" w="sm" len="sm"/>
              <a:tailEnd type="none" w="sm" len="sm"/>
            </a:ln>
            <a:effectLst/>
          </p:spPr>
          <p:txBody>
            <a:bodyPr/>
            <a:lstStyle/>
            <a:p>
              <a:pPr>
                <a:defRPr/>
              </a:pPr>
              <a:endParaRPr lang="en-GB" dirty="0">
                <a:solidFill>
                  <a:srgbClr val="626469"/>
                </a:solidFill>
              </a:endParaRPr>
            </a:p>
          </p:txBody>
        </p:sp>
        <p:sp>
          <p:nvSpPr>
            <p:cNvPr id="18" name="Freeform 17"/>
            <p:cNvSpPr/>
            <p:nvPr/>
          </p:nvSpPr>
          <p:spPr bwMode="auto">
            <a:xfrm>
              <a:off x="2495549" y="5162550"/>
              <a:ext cx="485776" cy="635000"/>
            </a:xfrm>
            <a:custGeom>
              <a:avLst/>
              <a:gdLst>
                <a:gd name="connsiteX0" fmla="*/ 581025 w 621370"/>
                <a:gd name="connsiteY0" fmla="*/ 800100 h 824079"/>
                <a:gd name="connsiteX1" fmla="*/ 609600 w 621370"/>
                <a:gd name="connsiteY1" fmla="*/ 790575 h 824079"/>
                <a:gd name="connsiteX2" fmla="*/ 590550 w 621370"/>
                <a:gd name="connsiteY2" fmla="*/ 819150 h 824079"/>
                <a:gd name="connsiteX3" fmla="*/ 533400 w 621370"/>
                <a:gd name="connsiteY3" fmla="*/ 790575 h 824079"/>
                <a:gd name="connsiteX4" fmla="*/ 542925 w 621370"/>
                <a:gd name="connsiteY4" fmla="*/ 752475 h 824079"/>
                <a:gd name="connsiteX5" fmla="*/ 523875 w 621370"/>
                <a:gd name="connsiteY5" fmla="*/ 695325 h 824079"/>
                <a:gd name="connsiteX6" fmla="*/ 438150 w 621370"/>
                <a:gd name="connsiteY6" fmla="*/ 742950 h 824079"/>
                <a:gd name="connsiteX7" fmla="*/ 400050 w 621370"/>
                <a:gd name="connsiteY7" fmla="*/ 733425 h 824079"/>
                <a:gd name="connsiteX8" fmla="*/ 361950 w 621370"/>
                <a:gd name="connsiteY8" fmla="*/ 781050 h 824079"/>
                <a:gd name="connsiteX9" fmla="*/ 333375 w 621370"/>
                <a:gd name="connsiteY9" fmla="*/ 790575 h 824079"/>
                <a:gd name="connsiteX10" fmla="*/ 295275 w 621370"/>
                <a:gd name="connsiteY10" fmla="*/ 781050 h 824079"/>
                <a:gd name="connsiteX11" fmla="*/ 304800 w 621370"/>
                <a:gd name="connsiteY11" fmla="*/ 752475 h 824079"/>
                <a:gd name="connsiteX12" fmla="*/ 333375 w 621370"/>
                <a:gd name="connsiteY12" fmla="*/ 695325 h 824079"/>
                <a:gd name="connsiteX13" fmla="*/ 304800 w 621370"/>
                <a:gd name="connsiteY13" fmla="*/ 685800 h 824079"/>
                <a:gd name="connsiteX14" fmla="*/ 285750 w 621370"/>
                <a:gd name="connsiteY14" fmla="*/ 657225 h 824079"/>
                <a:gd name="connsiteX15" fmla="*/ 257175 w 621370"/>
                <a:gd name="connsiteY15" fmla="*/ 638175 h 824079"/>
                <a:gd name="connsiteX16" fmla="*/ 238125 w 621370"/>
                <a:gd name="connsiteY16" fmla="*/ 581025 h 824079"/>
                <a:gd name="connsiteX17" fmla="*/ 219075 w 621370"/>
                <a:gd name="connsiteY17" fmla="*/ 552450 h 824079"/>
                <a:gd name="connsiteX18" fmla="*/ 180975 w 621370"/>
                <a:gd name="connsiteY18" fmla="*/ 466725 h 824079"/>
                <a:gd name="connsiteX19" fmla="*/ 152400 w 621370"/>
                <a:gd name="connsiteY19" fmla="*/ 457200 h 824079"/>
                <a:gd name="connsiteX20" fmla="*/ 76200 w 621370"/>
                <a:gd name="connsiteY20" fmla="*/ 409575 h 824079"/>
                <a:gd name="connsiteX21" fmla="*/ 47625 w 621370"/>
                <a:gd name="connsiteY21" fmla="*/ 400050 h 824079"/>
                <a:gd name="connsiteX22" fmla="*/ 19050 w 621370"/>
                <a:gd name="connsiteY22" fmla="*/ 390525 h 824079"/>
                <a:gd name="connsiteX23" fmla="*/ 0 w 621370"/>
                <a:gd name="connsiteY23" fmla="*/ 361950 h 824079"/>
                <a:gd name="connsiteX24" fmla="*/ 47625 w 621370"/>
                <a:gd name="connsiteY24" fmla="*/ 323850 h 824079"/>
                <a:gd name="connsiteX25" fmla="*/ 76200 w 621370"/>
                <a:gd name="connsiteY25" fmla="*/ 333375 h 824079"/>
                <a:gd name="connsiteX26" fmla="*/ 123825 w 621370"/>
                <a:gd name="connsiteY26" fmla="*/ 371475 h 824079"/>
                <a:gd name="connsiteX27" fmla="*/ 152400 w 621370"/>
                <a:gd name="connsiteY27" fmla="*/ 361950 h 824079"/>
                <a:gd name="connsiteX28" fmla="*/ 190500 w 621370"/>
                <a:gd name="connsiteY28" fmla="*/ 342900 h 824079"/>
                <a:gd name="connsiteX29" fmla="*/ 219075 w 621370"/>
                <a:gd name="connsiteY29" fmla="*/ 333375 h 824079"/>
                <a:gd name="connsiteX30" fmla="*/ 342900 w 621370"/>
                <a:gd name="connsiteY30" fmla="*/ 314325 h 824079"/>
                <a:gd name="connsiteX31" fmla="*/ 361950 w 621370"/>
                <a:gd name="connsiteY31" fmla="*/ 285750 h 824079"/>
                <a:gd name="connsiteX32" fmla="*/ 447675 w 621370"/>
                <a:gd name="connsiteY32" fmla="*/ 219075 h 824079"/>
                <a:gd name="connsiteX33" fmla="*/ 466725 w 621370"/>
                <a:gd name="connsiteY33" fmla="*/ 190500 h 824079"/>
                <a:gd name="connsiteX34" fmla="*/ 485775 w 621370"/>
                <a:gd name="connsiteY34" fmla="*/ 133350 h 824079"/>
                <a:gd name="connsiteX35" fmla="*/ 476250 w 621370"/>
                <a:gd name="connsiteY35" fmla="*/ 104775 h 824079"/>
                <a:gd name="connsiteX36" fmla="*/ 476250 w 621370"/>
                <a:gd name="connsiteY36" fmla="*/ 28575 h 824079"/>
                <a:gd name="connsiteX37" fmla="*/ 485775 w 621370"/>
                <a:gd name="connsiteY37" fmla="*/ 0 h 824079"/>
                <a:gd name="connsiteX38" fmla="*/ 504825 w 621370"/>
                <a:gd name="connsiteY38" fmla="*/ 28575 h 824079"/>
                <a:gd name="connsiteX39" fmla="*/ 514350 w 621370"/>
                <a:gd name="connsiteY39" fmla="*/ 57150 h 824079"/>
                <a:gd name="connsiteX40" fmla="*/ 533400 w 621370"/>
                <a:gd name="connsiteY40" fmla="*/ 85725 h 824079"/>
                <a:gd name="connsiteX41" fmla="*/ 542925 w 621370"/>
                <a:gd name="connsiteY41" fmla="*/ 114300 h 824079"/>
                <a:gd name="connsiteX42" fmla="*/ 600075 w 621370"/>
                <a:gd name="connsiteY42" fmla="*/ 133350 h 824079"/>
                <a:gd name="connsiteX43" fmla="*/ 619125 w 621370"/>
                <a:gd name="connsiteY43" fmla="*/ 161925 h 824079"/>
                <a:gd name="connsiteX44" fmla="*/ 590550 w 621370"/>
                <a:gd name="connsiteY44" fmla="*/ 180975 h 824079"/>
                <a:gd name="connsiteX45" fmla="*/ 542925 w 621370"/>
                <a:gd name="connsiteY45" fmla="*/ 266700 h 824079"/>
                <a:gd name="connsiteX46" fmla="*/ 542925 w 621370"/>
                <a:gd name="connsiteY46" fmla="*/ 333375 h 824079"/>
                <a:gd name="connsiteX47" fmla="*/ 533400 w 621370"/>
                <a:gd name="connsiteY47" fmla="*/ 476250 h 824079"/>
                <a:gd name="connsiteX48" fmla="*/ 504825 w 621370"/>
                <a:gd name="connsiteY48" fmla="*/ 581025 h 824079"/>
                <a:gd name="connsiteX49" fmla="*/ 514350 w 621370"/>
                <a:gd name="connsiteY49" fmla="*/ 609600 h 824079"/>
                <a:gd name="connsiteX50" fmla="*/ 542925 w 621370"/>
                <a:gd name="connsiteY50" fmla="*/ 619125 h 824079"/>
                <a:gd name="connsiteX51" fmla="*/ 571500 w 621370"/>
                <a:gd name="connsiteY51" fmla="*/ 638175 h 824079"/>
                <a:gd name="connsiteX52" fmla="*/ 590550 w 621370"/>
                <a:gd name="connsiteY52" fmla="*/ 666750 h 824079"/>
                <a:gd name="connsiteX53" fmla="*/ 619125 w 621370"/>
                <a:gd name="connsiteY53" fmla="*/ 695325 h 824079"/>
                <a:gd name="connsiteX54" fmla="*/ 600075 w 621370"/>
                <a:gd name="connsiteY54" fmla="*/ 752475 h 824079"/>
                <a:gd name="connsiteX55" fmla="*/ 581025 w 621370"/>
                <a:gd name="connsiteY55" fmla="*/ 800100 h 82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21370" h="824079">
                  <a:moveTo>
                    <a:pt x="581025" y="800100"/>
                  </a:moveTo>
                  <a:cubicBezTo>
                    <a:pt x="582613" y="806450"/>
                    <a:pt x="605110" y="781595"/>
                    <a:pt x="609600" y="790575"/>
                  </a:cubicBezTo>
                  <a:cubicBezTo>
                    <a:pt x="614720" y="800814"/>
                    <a:pt x="601179" y="814898"/>
                    <a:pt x="590550" y="819150"/>
                  </a:cubicBezTo>
                  <a:cubicBezTo>
                    <a:pt x="578227" y="824079"/>
                    <a:pt x="539417" y="794586"/>
                    <a:pt x="533400" y="790575"/>
                  </a:cubicBezTo>
                  <a:cubicBezTo>
                    <a:pt x="536575" y="777875"/>
                    <a:pt x="544228" y="765501"/>
                    <a:pt x="542925" y="752475"/>
                  </a:cubicBezTo>
                  <a:cubicBezTo>
                    <a:pt x="540927" y="732494"/>
                    <a:pt x="523875" y="695325"/>
                    <a:pt x="523875" y="695325"/>
                  </a:cubicBezTo>
                  <a:cubicBezTo>
                    <a:pt x="458371" y="738994"/>
                    <a:pt x="488445" y="726185"/>
                    <a:pt x="438150" y="742950"/>
                  </a:cubicBezTo>
                  <a:cubicBezTo>
                    <a:pt x="425450" y="739775"/>
                    <a:pt x="413009" y="731574"/>
                    <a:pt x="400050" y="733425"/>
                  </a:cubicBezTo>
                  <a:cubicBezTo>
                    <a:pt x="350717" y="740473"/>
                    <a:pt x="385974" y="757026"/>
                    <a:pt x="361950" y="781050"/>
                  </a:cubicBezTo>
                  <a:cubicBezTo>
                    <a:pt x="354850" y="788150"/>
                    <a:pt x="342900" y="787400"/>
                    <a:pt x="333375" y="790575"/>
                  </a:cubicBezTo>
                  <a:cubicBezTo>
                    <a:pt x="320675" y="787400"/>
                    <a:pt x="303130" y="791523"/>
                    <a:pt x="295275" y="781050"/>
                  </a:cubicBezTo>
                  <a:cubicBezTo>
                    <a:pt x="289251" y="773018"/>
                    <a:pt x="300310" y="761455"/>
                    <a:pt x="304800" y="752475"/>
                  </a:cubicBezTo>
                  <a:cubicBezTo>
                    <a:pt x="341729" y="678617"/>
                    <a:pt x="309434" y="767149"/>
                    <a:pt x="333375" y="695325"/>
                  </a:cubicBezTo>
                  <a:cubicBezTo>
                    <a:pt x="323850" y="692150"/>
                    <a:pt x="312640" y="692072"/>
                    <a:pt x="304800" y="685800"/>
                  </a:cubicBezTo>
                  <a:cubicBezTo>
                    <a:pt x="295861" y="678649"/>
                    <a:pt x="293845" y="665320"/>
                    <a:pt x="285750" y="657225"/>
                  </a:cubicBezTo>
                  <a:cubicBezTo>
                    <a:pt x="277655" y="649130"/>
                    <a:pt x="266700" y="644525"/>
                    <a:pt x="257175" y="638175"/>
                  </a:cubicBezTo>
                  <a:cubicBezTo>
                    <a:pt x="250825" y="619125"/>
                    <a:pt x="249264" y="597733"/>
                    <a:pt x="238125" y="581025"/>
                  </a:cubicBezTo>
                  <a:cubicBezTo>
                    <a:pt x="231775" y="571500"/>
                    <a:pt x="223724" y="562911"/>
                    <a:pt x="219075" y="552450"/>
                  </a:cubicBezTo>
                  <a:cubicBezTo>
                    <a:pt x="210243" y="532579"/>
                    <a:pt x="203275" y="484565"/>
                    <a:pt x="180975" y="466725"/>
                  </a:cubicBezTo>
                  <a:cubicBezTo>
                    <a:pt x="173135" y="460453"/>
                    <a:pt x="161925" y="460375"/>
                    <a:pt x="152400" y="457200"/>
                  </a:cubicBezTo>
                  <a:cubicBezTo>
                    <a:pt x="122211" y="411917"/>
                    <a:pt x="144210" y="432245"/>
                    <a:pt x="76200" y="409575"/>
                  </a:cubicBezTo>
                  <a:lnTo>
                    <a:pt x="47625" y="400050"/>
                  </a:lnTo>
                  <a:lnTo>
                    <a:pt x="19050" y="390525"/>
                  </a:lnTo>
                  <a:cubicBezTo>
                    <a:pt x="12700" y="381000"/>
                    <a:pt x="0" y="373398"/>
                    <a:pt x="0" y="361950"/>
                  </a:cubicBezTo>
                  <a:cubicBezTo>
                    <a:pt x="0" y="333227"/>
                    <a:pt x="29782" y="329798"/>
                    <a:pt x="47625" y="323850"/>
                  </a:cubicBezTo>
                  <a:cubicBezTo>
                    <a:pt x="57150" y="327025"/>
                    <a:pt x="68360" y="327103"/>
                    <a:pt x="76200" y="333375"/>
                  </a:cubicBezTo>
                  <a:cubicBezTo>
                    <a:pt x="137748" y="382614"/>
                    <a:pt x="52001" y="347534"/>
                    <a:pt x="123825" y="371475"/>
                  </a:cubicBezTo>
                  <a:cubicBezTo>
                    <a:pt x="133350" y="368300"/>
                    <a:pt x="145300" y="369050"/>
                    <a:pt x="152400" y="361950"/>
                  </a:cubicBezTo>
                  <a:cubicBezTo>
                    <a:pt x="184150" y="330200"/>
                    <a:pt x="133350" y="323850"/>
                    <a:pt x="190500" y="342900"/>
                  </a:cubicBezTo>
                  <a:cubicBezTo>
                    <a:pt x="200025" y="339725"/>
                    <a:pt x="209152" y="334902"/>
                    <a:pt x="219075" y="333375"/>
                  </a:cubicBezTo>
                  <a:cubicBezTo>
                    <a:pt x="355888" y="312327"/>
                    <a:pt x="274120" y="337252"/>
                    <a:pt x="342900" y="314325"/>
                  </a:cubicBezTo>
                  <a:cubicBezTo>
                    <a:pt x="349250" y="304800"/>
                    <a:pt x="357301" y="296211"/>
                    <a:pt x="361950" y="285750"/>
                  </a:cubicBezTo>
                  <a:cubicBezTo>
                    <a:pt x="397407" y="205972"/>
                    <a:pt x="350715" y="232926"/>
                    <a:pt x="447675" y="219075"/>
                  </a:cubicBezTo>
                  <a:cubicBezTo>
                    <a:pt x="454025" y="209550"/>
                    <a:pt x="462076" y="200961"/>
                    <a:pt x="466725" y="190500"/>
                  </a:cubicBezTo>
                  <a:cubicBezTo>
                    <a:pt x="474880" y="172150"/>
                    <a:pt x="485775" y="133350"/>
                    <a:pt x="485775" y="133350"/>
                  </a:cubicBezTo>
                  <a:cubicBezTo>
                    <a:pt x="482600" y="123825"/>
                    <a:pt x="476250" y="114815"/>
                    <a:pt x="476250" y="104775"/>
                  </a:cubicBezTo>
                  <a:cubicBezTo>
                    <a:pt x="476250" y="12823"/>
                    <a:pt x="498023" y="93894"/>
                    <a:pt x="476250" y="28575"/>
                  </a:cubicBezTo>
                  <a:cubicBezTo>
                    <a:pt x="479425" y="19050"/>
                    <a:pt x="475735" y="0"/>
                    <a:pt x="485775" y="0"/>
                  </a:cubicBezTo>
                  <a:cubicBezTo>
                    <a:pt x="497223" y="0"/>
                    <a:pt x="499705" y="18336"/>
                    <a:pt x="504825" y="28575"/>
                  </a:cubicBezTo>
                  <a:cubicBezTo>
                    <a:pt x="509315" y="37555"/>
                    <a:pt x="509860" y="48170"/>
                    <a:pt x="514350" y="57150"/>
                  </a:cubicBezTo>
                  <a:cubicBezTo>
                    <a:pt x="519470" y="67389"/>
                    <a:pt x="528280" y="75486"/>
                    <a:pt x="533400" y="85725"/>
                  </a:cubicBezTo>
                  <a:cubicBezTo>
                    <a:pt x="537890" y="94705"/>
                    <a:pt x="534755" y="108464"/>
                    <a:pt x="542925" y="114300"/>
                  </a:cubicBezTo>
                  <a:cubicBezTo>
                    <a:pt x="559265" y="125972"/>
                    <a:pt x="600075" y="133350"/>
                    <a:pt x="600075" y="133350"/>
                  </a:cubicBezTo>
                  <a:cubicBezTo>
                    <a:pt x="606425" y="142875"/>
                    <a:pt x="621370" y="150700"/>
                    <a:pt x="619125" y="161925"/>
                  </a:cubicBezTo>
                  <a:cubicBezTo>
                    <a:pt x="616880" y="173150"/>
                    <a:pt x="598088" y="172360"/>
                    <a:pt x="590550" y="180975"/>
                  </a:cubicBezTo>
                  <a:cubicBezTo>
                    <a:pt x="555279" y="221285"/>
                    <a:pt x="556007" y="227453"/>
                    <a:pt x="542925" y="266700"/>
                  </a:cubicBezTo>
                  <a:cubicBezTo>
                    <a:pt x="563108" y="347433"/>
                    <a:pt x="550283" y="267154"/>
                    <a:pt x="542925" y="333375"/>
                  </a:cubicBezTo>
                  <a:cubicBezTo>
                    <a:pt x="537654" y="380814"/>
                    <a:pt x="539573" y="428920"/>
                    <a:pt x="533400" y="476250"/>
                  </a:cubicBezTo>
                  <a:cubicBezTo>
                    <a:pt x="528796" y="511547"/>
                    <a:pt x="516156" y="547033"/>
                    <a:pt x="504825" y="581025"/>
                  </a:cubicBezTo>
                  <a:cubicBezTo>
                    <a:pt x="508000" y="590550"/>
                    <a:pt x="507250" y="602500"/>
                    <a:pt x="514350" y="609600"/>
                  </a:cubicBezTo>
                  <a:cubicBezTo>
                    <a:pt x="521450" y="616700"/>
                    <a:pt x="533945" y="614635"/>
                    <a:pt x="542925" y="619125"/>
                  </a:cubicBezTo>
                  <a:cubicBezTo>
                    <a:pt x="553164" y="624245"/>
                    <a:pt x="561975" y="631825"/>
                    <a:pt x="571500" y="638175"/>
                  </a:cubicBezTo>
                  <a:cubicBezTo>
                    <a:pt x="577850" y="647700"/>
                    <a:pt x="583221" y="657956"/>
                    <a:pt x="590550" y="666750"/>
                  </a:cubicBezTo>
                  <a:cubicBezTo>
                    <a:pt x="599174" y="677098"/>
                    <a:pt x="617637" y="681937"/>
                    <a:pt x="619125" y="695325"/>
                  </a:cubicBezTo>
                  <a:cubicBezTo>
                    <a:pt x="621343" y="715283"/>
                    <a:pt x="600075" y="752475"/>
                    <a:pt x="600075" y="752475"/>
                  </a:cubicBezTo>
                  <a:cubicBezTo>
                    <a:pt x="612440" y="789569"/>
                    <a:pt x="579438" y="793750"/>
                    <a:pt x="581025" y="800100"/>
                  </a:cubicBezTo>
                  <a:close/>
                </a:path>
              </a:pathLst>
            </a:custGeom>
            <a:grpFill/>
            <a:ln w="12700" cap="flat" cmpd="sng" algn="ctr">
              <a:solidFill>
                <a:schemeClr val="bg1"/>
              </a:solidFill>
              <a:prstDash val="solid"/>
              <a:round/>
              <a:headEnd type="none" w="sm" len="sm"/>
              <a:tailEnd type="none" w="sm" len="sm"/>
            </a:ln>
            <a:effectLst/>
          </p:spPr>
          <p:txBody>
            <a:bodyPr/>
            <a:lstStyle/>
            <a:p>
              <a:pPr>
                <a:defRPr/>
              </a:pPr>
              <a:endParaRPr lang="en-GB" dirty="0">
                <a:solidFill>
                  <a:srgbClr val="626469"/>
                </a:solidFill>
              </a:endParaRPr>
            </a:p>
          </p:txBody>
        </p:sp>
        <p:sp>
          <p:nvSpPr>
            <p:cNvPr id="19" name="Freeform 13"/>
            <p:cNvSpPr>
              <a:spLocks noChangeArrowheads="1"/>
            </p:cNvSpPr>
            <p:nvPr/>
          </p:nvSpPr>
          <p:spPr bwMode="auto">
            <a:xfrm>
              <a:off x="2423285" y="5941862"/>
              <a:ext cx="1440824" cy="1028672"/>
            </a:xfrm>
            <a:custGeom>
              <a:avLst/>
              <a:gdLst>
                <a:gd name="T0" fmla="*/ 0 w 1920875"/>
                <a:gd name="T1" fmla="*/ 0 h 1362075"/>
                <a:gd name="T2" fmla="*/ 1920875 w 1920875"/>
                <a:gd name="T3" fmla="*/ 1362075 h 1362075"/>
              </a:gdLst>
              <a:ahLst/>
              <a:cxnLst/>
              <a:rect l="T0" t="T1" r="T2" b="T3"/>
              <a:pathLst>
                <a:path w="1920875" h="1362075">
                  <a:moveTo>
                    <a:pt x="1419225" y="1285875"/>
                  </a:moveTo>
                  <a:cubicBezTo>
                    <a:pt x="1409700" y="1279525"/>
                    <a:pt x="1398745" y="1274920"/>
                    <a:pt x="1390650" y="1266825"/>
                  </a:cubicBezTo>
                  <a:cubicBezTo>
                    <a:pt x="1382555" y="1258730"/>
                    <a:pt x="1382775" y="1240733"/>
                    <a:pt x="1371600" y="1238250"/>
                  </a:cubicBezTo>
                  <a:cubicBezTo>
                    <a:pt x="1349684" y="1233380"/>
                    <a:pt x="1327150" y="1244600"/>
                    <a:pt x="1304925" y="1247775"/>
                  </a:cubicBezTo>
                  <a:cubicBezTo>
                    <a:pt x="1228725" y="1222375"/>
                    <a:pt x="1323975" y="1247775"/>
                    <a:pt x="1247775" y="1247775"/>
                  </a:cubicBezTo>
                  <a:cubicBezTo>
                    <a:pt x="1234684" y="1247775"/>
                    <a:pt x="1222214" y="1242012"/>
                    <a:pt x="1209675" y="1238250"/>
                  </a:cubicBezTo>
                  <a:cubicBezTo>
                    <a:pt x="1190441" y="1232480"/>
                    <a:pt x="1152525" y="1219200"/>
                    <a:pt x="1152525" y="1219200"/>
                  </a:cubicBezTo>
                  <a:cubicBezTo>
                    <a:pt x="1080701" y="1243141"/>
                    <a:pt x="1169233" y="1210846"/>
                    <a:pt x="1095375" y="1247775"/>
                  </a:cubicBezTo>
                  <a:cubicBezTo>
                    <a:pt x="1081710" y="1254607"/>
                    <a:pt x="1040907" y="1263773"/>
                    <a:pt x="1028700" y="1266825"/>
                  </a:cubicBezTo>
                  <a:cubicBezTo>
                    <a:pt x="1016000" y="1263650"/>
                    <a:pt x="1003626" y="1255997"/>
                    <a:pt x="990600" y="1257300"/>
                  </a:cubicBezTo>
                  <a:cubicBezTo>
                    <a:pt x="970619" y="1259298"/>
                    <a:pt x="953329" y="1273510"/>
                    <a:pt x="933450" y="1276350"/>
                  </a:cubicBezTo>
                  <a:lnTo>
                    <a:pt x="866775" y="1285875"/>
                  </a:lnTo>
                  <a:cubicBezTo>
                    <a:pt x="791303" y="1311032"/>
                    <a:pt x="829432" y="1308226"/>
                    <a:pt x="752475" y="1295400"/>
                  </a:cubicBezTo>
                  <a:cubicBezTo>
                    <a:pt x="749300" y="1285875"/>
                    <a:pt x="742950" y="1276865"/>
                    <a:pt x="742950" y="1266825"/>
                  </a:cubicBezTo>
                  <a:cubicBezTo>
                    <a:pt x="742950" y="1224492"/>
                    <a:pt x="774700" y="1245658"/>
                    <a:pt x="723900" y="1228725"/>
                  </a:cubicBezTo>
                  <a:cubicBezTo>
                    <a:pt x="692150" y="1231900"/>
                    <a:pt x="659741" y="1231075"/>
                    <a:pt x="628650" y="1238250"/>
                  </a:cubicBezTo>
                  <a:cubicBezTo>
                    <a:pt x="607115" y="1243220"/>
                    <a:pt x="589860" y="1268205"/>
                    <a:pt x="581025" y="1285875"/>
                  </a:cubicBezTo>
                  <a:cubicBezTo>
                    <a:pt x="576535" y="1294855"/>
                    <a:pt x="578600" y="1307350"/>
                    <a:pt x="571500" y="1314450"/>
                  </a:cubicBezTo>
                  <a:cubicBezTo>
                    <a:pt x="538748" y="1347202"/>
                    <a:pt x="521708" y="1350097"/>
                    <a:pt x="485775" y="1362075"/>
                  </a:cubicBezTo>
                  <a:cubicBezTo>
                    <a:pt x="452818" y="1351089"/>
                    <a:pt x="455384" y="1358442"/>
                    <a:pt x="438150" y="1323975"/>
                  </a:cubicBezTo>
                  <a:cubicBezTo>
                    <a:pt x="433660" y="1314995"/>
                    <a:pt x="435725" y="1302500"/>
                    <a:pt x="428625" y="1295400"/>
                  </a:cubicBezTo>
                  <a:cubicBezTo>
                    <a:pt x="421525" y="1288300"/>
                    <a:pt x="409575" y="1289050"/>
                    <a:pt x="400050" y="1285875"/>
                  </a:cubicBezTo>
                  <a:cubicBezTo>
                    <a:pt x="390525" y="1289050"/>
                    <a:pt x="381515" y="1295400"/>
                    <a:pt x="371475" y="1295400"/>
                  </a:cubicBezTo>
                  <a:cubicBezTo>
                    <a:pt x="288003" y="1295400"/>
                    <a:pt x="291008" y="1293978"/>
                    <a:pt x="238125" y="1276350"/>
                  </a:cubicBezTo>
                  <a:cubicBezTo>
                    <a:pt x="231775" y="1266825"/>
                    <a:pt x="227170" y="1255870"/>
                    <a:pt x="219075" y="1247775"/>
                  </a:cubicBezTo>
                  <a:cubicBezTo>
                    <a:pt x="200611" y="1229311"/>
                    <a:pt x="185166" y="1226947"/>
                    <a:pt x="161925" y="1219200"/>
                  </a:cubicBezTo>
                  <a:cubicBezTo>
                    <a:pt x="133906" y="1224804"/>
                    <a:pt x="105969" y="1242066"/>
                    <a:pt x="85725" y="1209675"/>
                  </a:cubicBezTo>
                  <a:cubicBezTo>
                    <a:pt x="75082" y="1192647"/>
                    <a:pt x="86366" y="1156463"/>
                    <a:pt x="66675" y="1152525"/>
                  </a:cubicBezTo>
                  <a:lnTo>
                    <a:pt x="19050" y="1143000"/>
                  </a:lnTo>
                  <a:cubicBezTo>
                    <a:pt x="9228" y="1113533"/>
                    <a:pt x="0" y="1090802"/>
                    <a:pt x="0" y="1057275"/>
                  </a:cubicBezTo>
                  <a:cubicBezTo>
                    <a:pt x="0" y="1047235"/>
                    <a:pt x="5035" y="1037680"/>
                    <a:pt x="9525" y="1028700"/>
                  </a:cubicBezTo>
                  <a:cubicBezTo>
                    <a:pt x="14645" y="1018461"/>
                    <a:pt x="19636" y="1007276"/>
                    <a:pt x="28575" y="1000125"/>
                  </a:cubicBezTo>
                  <a:cubicBezTo>
                    <a:pt x="36415" y="993853"/>
                    <a:pt x="47625" y="993775"/>
                    <a:pt x="57150" y="990600"/>
                  </a:cubicBezTo>
                  <a:cubicBezTo>
                    <a:pt x="63784" y="980649"/>
                    <a:pt x="88354" y="949224"/>
                    <a:pt x="85725" y="933450"/>
                  </a:cubicBezTo>
                  <a:cubicBezTo>
                    <a:pt x="83843" y="922158"/>
                    <a:pt x="73025" y="914400"/>
                    <a:pt x="66675" y="904875"/>
                  </a:cubicBezTo>
                  <a:cubicBezTo>
                    <a:pt x="69850" y="895350"/>
                    <a:pt x="69928" y="884140"/>
                    <a:pt x="76200" y="876300"/>
                  </a:cubicBezTo>
                  <a:cubicBezTo>
                    <a:pt x="117475" y="824706"/>
                    <a:pt x="95250" y="892969"/>
                    <a:pt x="123825" y="828675"/>
                  </a:cubicBezTo>
                  <a:cubicBezTo>
                    <a:pt x="131980" y="810325"/>
                    <a:pt x="131736" y="788233"/>
                    <a:pt x="142875" y="771525"/>
                  </a:cubicBezTo>
                  <a:cubicBezTo>
                    <a:pt x="167494" y="734596"/>
                    <a:pt x="158305" y="753810"/>
                    <a:pt x="171450" y="714375"/>
                  </a:cubicBezTo>
                  <a:cubicBezTo>
                    <a:pt x="168275" y="685800"/>
                    <a:pt x="168898" y="656542"/>
                    <a:pt x="161925" y="628650"/>
                  </a:cubicBezTo>
                  <a:cubicBezTo>
                    <a:pt x="159149" y="617544"/>
                    <a:pt x="142875" y="611523"/>
                    <a:pt x="142875" y="600075"/>
                  </a:cubicBezTo>
                  <a:cubicBezTo>
                    <a:pt x="142875" y="588627"/>
                    <a:pt x="156805" y="581739"/>
                    <a:pt x="161925" y="571500"/>
                  </a:cubicBezTo>
                  <a:cubicBezTo>
                    <a:pt x="166415" y="562520"/>
                    <a:pt x="168275" y="552450"/>
                    <a:pt x="171450" y="542925"/>
                  </a:cubicBezTo>
                  <a:cubicBezTo>
                    <a:pt x="175277" y="512312"/>
                    <a:pt x="162860" y="455457"/>
                    <a:pt x="209550" y="447675"/>
                  </a:cubicBezTo>
                  <a:cubicBezTo>
                    <a:pt x="219454" y="446024"/>
                    <a:pt x="228600" y="454025"/>
                    <a:pt x="238125" y="457200"/>
                  </a:cubicBezTo>
                  <a:cubicBezTo>
                    <a:pt x="250825" y="476250"/>
                    <a:pt x="254505" y="521590"/>
                    <a:pt x="276225" y="514350"/>
                  </a:cubicBezTo>
                  <a:lnTo>
                    <a:pt x="333375" y="495300"/>
                  </a:lnTo>
                  <a:lnTo>
                    <a:pt x="361950" y="485775"/>
                  </a:lnTo>
                  <a:cubicBezTo>
                    <a:pt x="371582" y="500222"/>
                    <a:pt x="390525" y="523207"/>
                    <a:pt x="390525" y="542925"/>
                  </a:cubicBezTo>
                  <a:cubicBezTo>
                    <a:pt x="390525" y="552965"/>
                    <a:pt x="384175" y="561975"/>
                    <a:pt x="381000" y="571500"/>
                  </a:cubicBezTo>
                  <a:cubicBezTo>
                    <a:pt x="384175" y="609600"/>
                    <a:pt x="365349" y="657027"/>
                    <a:pt x="390525" y="685800"/>
                  </a:cubicBezTo>
                  <a:cubicBezTo>
                    <a:pt x="405602" y="703030"/>
                    <a:pt x="447675" y="647700"/>
                    <a:pt x="447675" y="647700"/>
                  </a:cubicBezTo>
                  <a:cubicBezTo>
                    <a:pt x="454025" y="638175"/>
                    <a:pt x="456096" y="623377"/>
                    <a:pt x="466725" y="619125"/>
                  </a:cubicBezTo>
                  <a:cubicBezTo>
                    <a:pt x="476047" y="615396"/>
                    <a:pt x="485614" y="626008"/>
                    <a:pt x="495300" y="628650"/>
                  </a:cubicBezTo>
                  <a:cubicBezTo>
                    <a:pt x="520559" y="635539"/>
                    <a:pt x="571500" y="647700"/>
                    <a:pt x="571500" y="647700"/>
                  </a:cubicBezTo>
                  <a:cubicBezTo>
                    <a:pt x="602486" y="637371"/>
                    <a:pt x="604139" y="643318"/>
                    <a:pt x="619125" y="609600"/>
                  </a:cubicBezTo>
                  <a:cubicBezTo>
                    <a:pt x="627280" y="591250"/>
                    <a:pt x="638175" y="552450"/>
                    <a:pt x="638175" y="552450"/>
                  </a:cubicBezTo>
                  <a:cubicBezTo>
                    <a:pt x="635000" y="539750"/>
                    <a:pt x="633807" y="526382"/>
                    <a:pt x="628650" y="514350"/>
                  </a:cubicBezTo>
                  <a:cubicBezTo>
                    <a:pt x="624141" y="503828"/>
                    <a:pt x="607117" y="496950"/>
                    <a:pt x="609600" y="485775"/>
                  </a:cubicBezTo>
                  <a:cubicBezTo>
                    <a:pt x="616744" y="453628"/>
                    <a:pt x="647303" y="424061"/>
                    <a:pt x="676275" y="409575"/>
                  </a:cubicBezTo>
                  <a:cubicBezTo>
                    <a:pt x="685255" y="405085"/>
                    <a:pt x="695325" y="403225"/>
                    <a:pt x="704850" y="400050"/>
                  </a:cubicBezTo>
                  <a:cubicBezTo>
                    <a:pt x="701675" y="390525"/>
                    <a:pt x="704647" y="375204"/>
                    <a:pt x="695325" y="371475"/>
                  </a:cubicBezTo>
                  <a:cubicBezTo>
                    <a:pt x="683170" y="366613"/>
                    <a:pt x="670251" y="382303"/>
                    <a:pt x="657225" y="381000"/>
                  </a:cubicBezTo>
                  <a:cubicBezTo>
                    <a:pt x="617219" y="376999"/>
                    <a:pt x="600818" y="362445"/>
                    <a:pt x="571500" y="342900"/>
                  </a:cubicBezTo>
                  <a:cubicBezTo>
                    <a:pt x="568325" y="333375"/>
                    <a:pt x="566465" y="323305"/>
                    <a:pt x="561975" y="314325"/>
                  </a:cubicBezTo>
                  <a:cubicBezTo>
                    <a:pt x="556855" y="304086"/>
                    <a:pt x="542925" y="297198"/>
                    <a:pt x="542925" y="285750"/>
                  </a:cubicBezTo>
                  <a:cubicBezTo>
                    <a:pt x="542925" y="274302"/>
                    <a:pt x="553360" y="264713"/>
                    <a:pt x="561975" y="257175"/>
                  </a:cubicBezTo>
                  <a:cubicBezTo>
                    <a:pt x="579205" y="242098"/>
                    <a:pt x="619125" y="219075"/>
                    <a:pt x="619125" y="219075"/>
                  </a:cubicBezTo>
                  <a:cubicBezTo>
                    <a:pt x="625475" y="209550"/>
                    <a:pt x="629560" y="198038"/>
                    <a:pt x="638175" y="190500"/>
                  </a:cubicBezTo>
                  <a:cubicBezTo>
                    <a:pt x="655405" y="175423"/>
                    <a:pt x="695325" y="152400"/>
                    <a:pt x="695325" y="152400"/>
                  </a:cubicBezTo>
                  <a:cubicBezTo>
                    <a:pt x="701675" y="142875"/>
                    <a:pt x="706280" y="131920"/>
                    <a:pt x="714375" y="123825"/>
                  </a:cubicBezTo>
                  <a:cubicBezTo>
                    <a:pt x="741672" y="96528"/>
                    <a:pt x="740537" y="110744"/>
                    <a:pt x="771525" y="95250"/>
                  </a:cubicBezTo>
                  <a:cubicBezTo>
                    <a:pt x="781764" y="90130"/>
                    <a:pt x="789639" y="80849"/>
                    <a:pt x="800100" y="76200"/>
                  </a:cubicBezTo>
                  <a:cubicBezTo>
                    <a:pt x="818450" y="68045"/>
                    <a:pt x="838200" y="63500"/>
                    <a:pt x="857250" y="57150"/>
                  </a:cubicBezTo>
                  <a:cubicBezTo>
                    <a:pt x="866775" y="53975"/>
                    <a:pt x="877471" y="53194"/>
                    <a:pt x="885825" y="47625"/>
                  </a:cubicBezTo>
                  <a:cubicBezTo>
                    <a:pt x="953867" y="2263"/>
                    <a:pt x="920763" y="15078"/>
                    <a:pt x="981075" y="0"/>
                  </a:cubicBezTo>
                  <a:lnTo>
                    <a:pt x="1038225" y="19050"/>
                  </a:lnTo>
                  <a:lnTo>
                    <a:pt x="1066800" y="28575"/>
                  </a:lnTo>
                  <a:cubicBezTo>
                    <a:pt x="1071436" y="35529"/>
                    <a:pt x="1099757" y="72580"/>
                    <a:pt x="1095375" y="85725"/>
                  </a:cubicBezTo>
                  <a:cubicBezTo>
                    <a:pt x="1088135" y="107445"/>
                    <a:pt x="1064515" y="121155"/>
                    <a:pt x="1057275" y="142875"/>
                  </a:cubicBezTo>
                  <a:lnTo>
                    <a:pt x="1038225" y="200025"/>
                  </a:lnTo>
                  <a:cubicBezTo>
                    <a:pt x="1035050" y="209550"/>
                    <a:pt x="1030669" y="218755"/>
                    <a:pt x="1028700" y="228600"/>
                  </a:cubicBezTo>
                  <a:cubicBezTo>
                    <a:pt x="1025525" y="244475"/>
                    <a:pt x="1029114" y="263446"/>
                    <a:pt x="1019175" y="276225"/>
                  </a:cubicBezTo>
                  <a:cubicBezTo>
                    <a:pt x="1005119" y="294297"/>
                    <a:pt x="962025" y="314325"/>
                    <a:pt x="962025" y="314325"/>
                  </a:cubicBezTo>
                  <a:cubicBezTo>
                    <a:pt x="958850" y="323850"/>
                    <a:pt x="956990" y="333920"/>
                    <a:pt x="952500" y="342900"/>
                  </a:cubicBezTo>
                  <a:cubicBezTo>
                    <a:pt x="947380" y="353139"/>
                    <a:pt x="938099" y="361014"/>
                    <a:pt x="933450" y="371475"/>
                  </a:cubicBezTo>
                  <a:cubicBezTo>
                    <a:pt x="925295" y="389825"/>
                    <a:pt x="920750" y="409575"/>
                    <a:pt x="914400" y="428625"/>
                  </a:cubicBezTo>
                  <a:lnTo>
                    <a:pt x="904875" y="457200"/>
                  </a:lnTo>
                  <a:lnTo>
                    <a:pt x="895350" y="485775"/>
                  </a:lnTo>
                  <a:cubicBezTo>
                    <a:pt x="895824" y="488147"/>
                    <a:pt x="906590" y="552212"/>
                    <a:pt x="914400" y="561975"/>
                  </a:cubicBezTo>
                  <a:cubicBezTo>
                    <a:pt x="921551" y="570914"/>
                    <a:pt x="933450" y="574675"/>
                    <a:pt x="942975" y="581025"/>
                  </a:cubicBezTo>
                  <a:cubicBezTo>
                    <a:pt x="951244" y="593429"/>
                    <a:pt x="965505" y="627490"/>
                    <a:pt x="990600" y="619125"/>
                  </a:cubicBezTo>
                  <a:cubicBezTo>
                    <a:pt x="1012320" y="611885"/>
                    <a:pt x="1047750" y="581025"/>
                    <a:pt x="1047750" y="581025"/>
                  </a:cubicBezTo>
                  <a:cubicBezTo>
                    <a:pt x="1050925" y="571500"/>
                    <a:pt x="1057275" y="562490"/>
                    <a:pt x="1057275" y="552450"/>
                  </a:cubicBezTo>
                  <a:cubicBezTo>
                    <a:pt x="1057275" y="528509"/>
                    <a:pt x="1038332" y="514563"/>
                    <a:pt x="1028700" y="495300"/>
                  </a:cubicBezTo>
                  <a:cubicBezTo>
                    <a:pt x="1024210" y="486320"/>
                    <a:pt x="1021353" y="476526"/>
                    <a:pt x="1019175" y="466725"/>
                  </a:cubicBezTo>
                  <a:cubicBezTo>
                    <a:pt x="996824" y="366145"/>
                    <a:pt x="1021567" y="445326"/>
                    <a:pt x="1000125" y="381000"/>
                  </a:cubicBezTo>
                  <a:cubicBezTo>
                    <a:pt x="1003300" y="371475"/>
                    <a:pt x="1000670" y="356915"/>
                    <a:pt x="1009650" y="352425"/>
                  </a:cubicBezTo>
                  <a:cubicBezTo>
                    <a:pt x="1018630" y="347935"/>
                    <a:pt x="1029871" y="356381"/>
                    <a:pt x="1038225" y="361950"/>
                  </a:cubicBezTo>
                  <a:cubicBezTo>
                    <a:pt x="1109574" y="409516"/>
                    <a:pt x="1027431" y="377402"/>
                    <a:pt x="1095375" y="400050"/>
                  </a:cubicBezTo>
                  <a:cubicBezTo>
                    <a:pt x="1104900" y="393700"/>
                    <a:pt x="1112658" y="382882"/>
                    <a:pt x="1123950" y="381000"/>
                  </a:cubicBezTo>
                  <a:cubicBezTo>
                    <a:pt x="1133854" y="379349"/>
                    <a:pt x="1142724" y="388347"/>
                    <a:pt x="1152525" y="390525"/>
                  </a:cubicBezTo>
                  <a:cubicBezTo>
                    <a:pt x="1171378" y="394715"/>
                    <a:pt x="1190625" y="396875"/>
                    <a:pt x="1209675" y="400050"/>
                  </a:cubicBezTo>
                  <a:cubicBezTo>
                    <a:pt x="1219200" y="390525"/>
                    <a:pt x="1226202" y="377499"/>
                    <a:pt x="1238250" y="371475"/>
                  </a:cubicBezTo>
                  <a:cubicBezTo>
                    <a:pt x="1252730" y="364235"/>
                    <a:pt x="1270716" y="367634"/>
                    <a:pt x="1285875" y="361950"/>
                  </a:cubicBezTo>
                  <a:cubicBezTo>
                    <a:pt x="1296594" y="357930"/>
                    <a:pt x="1304925" y="349250"/>
                    <a:pt x="1314450" y="342900"/>
                  </a:cubicBezTo>
                  <a:cubicBezTo>
                    <a:pt x="1323975" y="346075"/>
                    <a:pt x="1334671" y="346856"/>
                    <a:pt x="1343025" y="352425"/>
                  </a:cubicBezTo>
                  <a:cubicBezTo>
                    <a:pt x="1365027" y="367093"/>
                    <a:pt x="1376593" y="388490"/>
                    <a:pt x="1390650" y="409575"/>
                  </a:cubicBezTo>
                  <a:cubicBezTo>
                    <a:pt x="1400175" y="406400"/>
                    <a:pt x="1409185" y="400050"/>
                    <a:pt x="1419225" y="400050"/>
                  </a:cubicBezTo>
                  <a:cubicBezTo>
                    <a:pt x="1474356" y="400050"/>
                    <a:pt x="1456010" y="408917"/>
                    <a:pt x="1495425" y="428625"/>
                  </a:cubicBezTo>
                  <a:cubicBezTo>
                    <a:pt x="1504405" y="433115"/>
                    <a:pt x="1514475" y="434975"/>
                    <a:pt x="1524000" y="438150"/>
                  </a:cubicBezTo>
                  <a:cubicBezTo>
                    <a:pt x="1533525" y="434975"/>
                    <a:pt x="1544735" y="434897"/>
                    <a:pt x="1552575" y="428625"/>
                  </a:cubicBezTo>
                  <a:cubicBezTo>
                    <a:pt x="1561514" y="421474"/>
                    <a:pt x="1563530" y="408145"/>
                    <a:pt x="1571625" y="400050"/>
                  </a:cubicBezTo>
                  <a:cubicBezTo>
                    <a:pt x="1579720" y="391955"/>
                    <a:pt x="1590675" y="387350"/>
                    <a:pt x="1600200" y="381000"/>
                  </a:cubicBezTo>
                  <a:cubicBezTo>
                    <a:pt x="1622425" y="384175"/>
                    <a:pt x="1645921" y="382466"/>
                    <a:pt x="1666875" y="390525"/>
                  </a:cubicBezTo>
                  <a:cubicBezTo>
                    <a:pt x="1688244" y="398744"/>
                    <a:pt x="1704975" y="415925"/>
                    <a:pt x="1724025" y="428625"/>
                  </a:cubicBezTo>
                  <a:cubicBezTo>
                    <a:pt x="1733550" y="434975"/>
                    <a:pt x="1741740" y="444055"/>
                    <a:pt x="1752600" y="447675"/>
                  </a:cubicBezTo>
                  <a:lnTo>
                    <a:pt x="1809750" y="466725"/>
                  </a:lnTo>
                  <a:lnTo>
                    <a:pt x="1866900" y="485775"/>
                  </a:lnTo>
                  <a:lnTo>
                    <a:pt x="1895475" y="495300"/>
                  </a:lnTo>
                  <a:cubicBezTo>
                    <a:pt x="1920875" y="571500"/>
                    <a:pt x="1895475" y="476250"/>
                    <a:pt x="1895475" y="552450"/>
                  </a:cubicBezTo>
                  <a:cubicBezTo>
                    <a:pt x="1895475" y="575438"/>
                    <a:pt x="1907009" y="606101"/>
                    <a:pt x="1914525" y="628650"/>
                  </a:cubicBezTo>
                  <a:cubicBezTo>
                    <a:pt x="1885950" y="714375"/>
                    <a:pt x="1917700" y="669925"/>
                    <a:pt x="1866900" y="695325"/>
                  </a:cubicBezTo>
                  <a:cubicBezTo>
                    <a:pt x="1856661" y="700445"/>
                    <a:pt x="1847850" y="708025"/>
                    <a:pt x="1838325" y="714375"/>
                  </a:cubicBezTo>
                  <a:cubicBezTo>
                    <a:pt x="1803400" y="711200"/>
                    <a:pt x="1768619" y="704850"/>
                    <a:pt x="1733550" y="704850"/>
                  </a:cubicBezTo>
                  <a:cubicBezTo>
                    <a:pt x="1720459" y="704850"/>
                    <a:pt x="1708037" y="710779"/>
                    <a:pt x="1695450" y="714375"/>
                  </a:cubicBezTo>
                  <a:cubicBezTo>
                    <a:pt x="1660944" y="724234"/>
                    <a:pt x="1669609" y="722078"/>
                    <a:pt x="1638300" y="742950"/>
                  </a:cubicBezTo>
                  <a:cubicBezTo>
                    <a:pt x="1647825" y="749300"/>
                    <a:pt x="1656636" y="756880"/>
                    <a:pt x="1666875" y="762000"/>
                  </a:cubicBezTo>
                  <a:cubicBezTo>
                    <a:pt x="1675855" y="766490"/>
                    <a:pt x="1688350" y="764425"/>
                    <a:pt x="1695450" y="771525"/>
                  </a:cubicBezTo>
                  <a:cubicBezTo>
                    <a:pt x="1728202" y="804277"/>
                    <a:pt x="1731097" y="821317"/>
                    <a:pt x="1743075" y="857250"/>
                  </a:cubicBezTo>
                  <a:cubicBezTo>
                    <a:pt x="1739900" y="866775"/>
                    <a:pt x="1739822" y="877985"/>
                    <a:pt x="1733550" y="885825"/>
                  </a:cubicBezTo>
                  <a:cubicBezTo>
                    <a:pt x="1726399" y="894764"/>
                    <a:pt x="1711042" y="895167"/>
                    <a:pt x="1704975" y="904875"/>
                  </a:cubicBezTo>
                  <a:cubicBezTo>
                    <a:pt x="1694332" y="921903"/>
                    <a:pt x="1697064" y="945317"/>
                    <a:pt x="1685925" y="962025"/>
                  </a:cubicBezTo>
                  <a:cubicBezTo>
                    <a:pt x="1679575" y="971550"/>
                    <a:pt x="1671995" y="980361"/>
                    <a:pt x="1666875" y="990600"/>
                  </a:cubicBezTo>
                  <a:cubicBezTo>
                    <a:pt x="1655371" y="1013607"/>
                    <a:pt x="1661048" y="1029552"/>
                    <a:pt x="1638300" y="1047750"/>
                  </a:cubicBezTo>
                  <a:cubicBezTo>
                    <a:pt x="1630460" y="1054022"/>
                    <a:pt x="1619250" y="1054100"/>
                    <a:pt x="1609725" y="1057275"/>
                  </a:cubicBezTo>
                  <a:cubicBezTo>
                    <a:pt x="1603375" y="1047750"/>
                    <a:pt x="1602034" y="1030120"/>
                    <a:pt x="1590675" y="1028700"/>
                  </a:cubicBezTo>
                  <a:cubicBezTo>
                    <a:pt x="1570750" y="1026209"/>
                    <a:pt x="1533525" y="1047750"/>
                    <a:pt x="1533525" y="1047750"/>
                  </a:cubicBezTo>
                  <a:cubicBezTo>
                    <a:pt x="1523893" y="1062197"/>
                    <a:pt x="1504950" y="1085182"/>
                    <a:pt x="1504950" y="1104900"/>
                  </a:cubicBezTo>
                  <a:cubicBezTo>
                    <a:pt x="1504950" y="1114940"/>
                    <a:pt x="1511300" y="1123950"/>
                    <a:pt x="1514475" y="1133475"/>
                  </a:cubicBezTo>
                  <a:lnTo>
                    <a:pt x="1485900" y="1219200"/>
                  </a:lnTo>
                  <a:cubicBezTo>
                    <a:pt x="1482725" y="1228725"/>
                    <a:pt x="1485900" y="1244600"/>
                    <a:pt x="1476375" y="1247775"/>
                  </a:cubicBezTo>
                  <a:lnTo>
                    <a:pt x="1419225" y="1266825"/>
                  </a:lnTo>
                  <a:cubicBezTo>
                    <a:pt x="1409700" y="1270000"/>
                    <a:pt x="1390650" y="1286390"/>
                    <a:pt x="1390650" y="1276350"/>
                  </a:cubicBezTo>
                  <a:lnTo>
                    <a:pt x="1419225" y="1285875"/>
                  </a:ln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20" name="Freeform 14"/>
            <p:cNvSpPr>
              <a:spLocks noChangeArrowheads="1"/>
            </p:cNvSpPr>
            <p:nvPr/>
          </p:nvSpPr>
          <p:spPr bwMode="auto">
            <a:xfrm>
              <a:off x="4692877" y="6006154"/>
              <a:ext cx="763590" cy="981764"/>
            </a:xfrm>
            <a:custGeom>
              <a:avLst/>
              <a:gdLst>
                <a:gd name="T0" fmla="*/ 0 w 1018002"/>
                <a:gd name="T1" fmla="*/ 0 h 1309052"/>
                <a:gd name="T2" fmla="*/ 1018002 w 1018002"/>
                <a:gd name="T3" fmla="*/ 1309052 h 1309052"/>
              </a:gdLst>
              <a:ahLst/>
              <a:cxnLst/>
              <a:rect l="T0" t="T1" r="T2" b="T3"/>
              <a:pathLst>
                <a:path w="1018002" h="1309052">
                  <a:moveTo>
                    <a:pt x="193675" y="1143000"/>
                  </a:moveTo>
                  <a:cubicBezTo>
                    <a:pt x="226183" y="1094239"/>
                    <a:pt x="209427" y="1135663"/>
                    <a:pt x="203200" y="1085850"/>
                  </a:cubicBezTo>
                  <a:cubicBezTo>
                    <a:pt x="198065" y="1044773"/>
                    <a:pt x="198512" y="1003138"/>
                    <a:pt x="193675" y="962025"/>
                  </a:cubicBezTo>
                  <a:cubicBezTo>
                    <a:pt x="192145" y="949024"/>
                    <a:pt x="191412" y="934817"/>
                    <a:pt x="184150" y="923925"/>
                  </a:cubicBezTo>
                  <a:cubicBezTo>
                    <a:pt x="177800" y="914400"/>
                    <a:pt x="165100" y="911225"/>
                    <a:pt x="155575" y="904875"/>
                  </a:cubicBezTo>
                  <a:cubicBezTo>
                    <a:pt x="152400" y="895350"/>
                    <a:pt x="144941" y="886279"/>
                    <a:pt x="146050" y="876300"/>
                  </a:cubicBezTo>
                  <a:cubicBezTo>
                    <a:pt x="148268" y="856342"/>
                    <a:pt x="165100" y="819150"/>
                    <a:pt x="165100" y="819150"/>
                  </a:cubicBezTo>
                  <a:cubicBezTo>
                    <a:pt x="161925" y="803275"/>
                    <a:pt x="161259" y="786684"/>
                    <a:pt x="155575" y="771525"/>
                  </a:cubicBezTo>
                  <a:cubicBezTo>
                    <a:pt x="151555" y="760806"/>
                    <a:pt x="141645" y="753189"/>
                    <a:pt x="136525" y="742950"/>
                  </a:cubicBezTo>
                  <a:cubicBezTo>
                    <a:pt x="132035" y="733970"/>
                    <a:pt x="129758" y="724029"/>
                    <a:pt x="127000" y="714375"/>
                  </a:cubicBezTo>
                  <a:cubicBezTo>
                    <a:pt x="123404" y="701788"/>
                    <a:pt x="124737" y="687167"/>
                    <a:pt x="117475" y="676275"/>
                  </a:cubicBezTo>
                  <a:cubicBezTo>
                    <a:pt x="111125" y="666750"/>
                    <a:pt x="98425" y="663575"/>
                    <a:pt x="88900" y="657225"/>
                  </a:cubicBezTo>
                  <a:cubicBezTo>
                    <a:pt x="92075" y="647700"/>
                    <a:pt x="93549" y="637427"/>
                    <a:pt x="98425" y="628650"/>
                  </a:cubicBezTo>
                  <a:cubicBezTo>
                    <a:pt x="109544" y="608636"/>
                    <a:pt x="129285" y="593220"/>
                    <a:pt x="136525" y="571500"/>
                  </a:cubicBezTo>
                  <a:lnTo>
                    <a:pt x="146050" y="542925"/>
                  </a:lnTo>
                  <a:cubicBezTo>
                    <a:pt x="127000" y="530225"/>
                    <a:pt x="96140" y="526545"/>
                    <a:pt x="88900" y="504825"/>
                  </a:cubicBezTo>
                  <a:cubicBezTo>
                    <a:pt x="75755" y="465390"/>
                    <a:pt x="87729" y="481819"/>
                    <a:pt x="50800" y="457200"/>
                  </a:cubicBezTo>
                  <a:cubicBezTo>
                    <a:pt x="38100" y="438150"/>
                    <a:pt x="0" y="419100"/>
                    <a:pt x="12700" y="400050"/>
                  </a:cubicBezTo>
                  <a:cubicBezTo>
                    <a:pt x="19050" y="390525"/>
                    <a:pt x="26630" y="381714"/>
                    <a:pt x="31750" y="371475"/>
                  </a:cubicBezTo>
                  <a:cubicBezTo>
                    <a:pt x="47244" y="340487"/>
                    <a:pt x="33028" y="341622"/>
                    <a:pt x="60325" y="314325"/>
                  </a:cubicBezTo>
                  <a:cubicBezTo>
                    <a:pt x="68420" y="306230"/>
                    <a:pt x="79375" y="301625"/>
                    <a:pt x="88900" y="295275"/>
                  </a:cubicBezTo>
                  <a:cubicBezTo>
                    <a:pt x="95250" y="285750"/>
                    <a:pt x="99855" y="274795"/>
                    <a:pt x="107950" y="266700"/>
                  </a:cubicBezTo>
                  <a:cubicBezTo>
                    <a:pt x="116045" y="258605"/>
                    <a:pt x="132273" y="258279"/>
                    <a:pt x="136525" y="247650"/>
                  </a:cubicBezTo>
                  <a:cubicBezTo>
                    <a:pt x="140254" y="238328"/>
                    <a:pt x="133272" y="226915"/>
                    <a:pt x="127000" y="219075"/>
                  </a:cubicBezTo>
                  <a:cubicBezTo>
                    <a:pt x="113571" y="202289"/>
                    <a:pt x="88674" y="196775"/>
                    <a:pt x="69850" y="190500"/>
                  </a:cubicBezTo>
                  <a:cubicBezTo>
                    <a:pt x="63500" y="180975"/>
                    <a:pt x="59739" y="169076"/>
                    <a:pt x="50800" y="161925"/>
                  </a:cubicBezTo>
                  <a:cubicBezTo>
                    <a:pt x="4618" y="124980"/>
                    <a:pt x="33482" y="186170"/>
                    <a:pt x="12700" y="123825"/>
                  </a:cubicBezTo>
                  <a:cubicBezTo>
                    <a:pt x="15875" y="114300"/>
                    <a:pt x="19467" y="104904"/>
                    <a:pt x="22225" y="95250"/>
                  </a:cubicBezTo>
                  <a:cubicBezTo>
                    <a:pt x="25821" y="82663"/>
                    <a:pt x="23572" y="67372"/>
                    <a:pt x="31750" y="57150"/>
                  </a:cubicBezTo>
                  <a:cubicBezTo>
                    <a:pt x="38022" y="49310"/>
                    <a:pt x="50800" y="50800"/>
                    <a:pt x="60325" y="47625"/>
                  </a:cubicBezTo>
                  <a:cubicBezTo>
                    <a:pt x="66273" y="29782"/>
                    <a:pt x="69702" y="0"/>
                    <a:pt x="98425" y="0"/>
                  </a:cubicBezTo>
                  <a:cubicBezTo>
                    <a:pt x="118505" y="0"/>
                    <a:pt x="136525" y="12700"/>
                    <a:pt x="155575" y="19050"/>
                  </a:cubicBezTo>
                  <a:cubicBezTo>
                    <a:pt x="165100" y="22225"/>
                    <a:pt x="175796" y="23006"/>
                    <a:pt x="184150" y="28575"/>
                  </a:cubicBezTo>
                  <a:cubicBezTo>
                    <a:pt x="193675" y="34925"/>
                    <a:pt x="202264" y="42976"/>
                    <a:pt x="212725" y="47625"/>
                  </a:cubicBezTo>
                  <a:cubicBezTo>
                    <a:pt x="314740" y="92965"/>
                    <a:pt x="233781" y="42612"/>
                    <a:pt x="298450" y="85725"/>
                  </a:cubicBezTo>
                  <a:cubicBezTo>
                    <a:pt x="327025" y="76200"/>
                    <a:pt x="327025" y="69850"/>
                    <a:pt x="355600" y="85725"/>
                  </a:cubicBezTo>
                  <a:cubicBezTo>
                    <a:pt x="375614" y="96844"/>
                    <a:pt x="412750" y="123825"/>
                    <a:pt x="412750" y="123825"/>
                  </a:cubicBezTo>
                  <a:cubicBezTo>
                    <a:pt x="389560" y="193394"/>
                    <a:pt x="398570" y="161494"/>
                    <a:pt x="384175" y="219075"/>
                  </a:cubicBezTo>
                  <a:cubicBezTo>
                    <a:pt x="390450" y="237899"/>
                    <a:pt x="395964" y="262796"/>
                    <a:pt x="412750" y="276225"/>
                  </a:cubicBezTo>
                  <a:cubicBezTo>
                    <a:pt x="420590" y="282497"/>
                    <a:pt x="432548" y="280874"/>
                    <a:pt x="441325" y="285750"/>
                  </a:cubicBezTo>
                  <a:cubicBezTo>
                    <a:pt x="461339" y="296869"/>
                    <a:pt x="498475" y="323850"/>
                    <a:pt x="498475" y="323850"/>
                  </a:cubicBezTo>
                  <a:cubicBezTo>
                    <a:pt x="562801" y="302408"/>
                    <a:pt x="483620" y="327151"/>
                    <a:pt x="584200" y="304800"/>
                  </a:cubicBezTo>
                  <a:cubicBezTo>
                    <a:pt x="594001" y="302622"/>
                    <a:pt x="603250" y="298450"/>
                    <a:pt x="612775" y="295275"/>
                  </a:cubicBezTo>
                  <a:cubicBezTo>
                    <a:pt x="625475" y="298450"/>
                    <a:pt x="638038" y="302233"/>
                    <a:pt x="650875" y="304800"/>
                  </a:cubicBezTo>
                  <a:cubicBezTo>
                    <a:pt x="669813" y="308588"/>
                    <a:pt x="689172" y="310135"/>
                    <a:pt x="708025" y="314325"/>
                  </a:cubicBezTo>
                  <a:cubicBezTo>
                    <a:pt x="717826" y="316503"/>
                    <a:pt x="726946" y="321092"/>
                    <a:pt x="736600" y="323850"/>
                  </a:cubicBezTo>
                  <a:cubicBezTo>
                    <a:pt x="749187" y="327446"/>
                    <a:pt x="762000" y="330200"/>
                    <a:pt x="774700" y="333375"/>
                  </a:cubicBezTo>
                  <a:cubicBezTo>
                    <a:pt x="850900" y="307975"/>
                    <a:pt x="812800" y="307975"/>
                    <a:pt x="889000" y="333375"/>
                  </a:cubicBezTo>
                  <a:lnTo>
                    <a:pt x="917575" y="342900"/>
                  </a:lnTo>
                  <a:lnTo>
                    <a:pt x="946150" y="352425"/>
                  </a:lnTo>
                  <a:cubicBezTo>
                    <a:pt x="949325" y="361950"/>
                    <a:pt x="959404" y="371678"/>
                    <a:pt x="955675" y="381000"/>
                  </a:cubicBezTo>
                  <a:cubicBezTo>
                    <a:pt x="951423" y="391629"/>
                    <a:pt x="935195" y="391955"/>
                    <a:pt x="927100" y="400050"/>
                  </a:cubicBezTo>
                  <a:cubicBezTo>
                    <a:pt x="919005" y="408145"/>
                    <a:pt x="912699" y="418164"/>
                    <a:pt x="908050" y="428625"/>
                  </a:cubicBezTo>
                  <a:cubicBezTo>
                    <a:pt x="874641" y="503794"/>
                    <a:pt x="911830" y="470555"/>
                    <a:pt x="860425" y="504825"/>
                  </a:cubicBezTo>
                  <a:cubicBezTo>
                    <a:pt x="854075" y="514350"/>
                    <a:pt x="851836" y="528751"/>
                    <a:pt x="841375" y="533400"/>
                  </a:cubicBezTo>
                  <a:cubicBezTo>
                    <a:pt x="820859" y="542518"/>
                    <a:pt x="796715" y="538522"/>
                    <a:pt x="774700" y="542925"/>
                  </a:cubicBezTo>
                  <a:cubicBezTo>
                    <a:pt x="746532" y="548559"/>
                    <a:pt x="741632" y="555445"/>
                    <a:pt x="717550" y="571500"/>
                  </a:cubicBezTo>
                  <a:cubicBezTo>
                    <a:pt x="707918" y="585947"/>
                    <a:pt x="688975" y="608932"/>
                    <a:pt x="688975" y="628650"/>
                  </a:cubicBezTo>
                  <a:cubicBezTo>
                    <a:pt x="688975" y="716653"/>
                    <a:pt x="694630" y="679844"/>
                    <a:pt x="708025" y="733425"/>
                  </a:cubicBezTo>
                  <a:cubicBezTo>
                    <a:pt x="711952" y="749131"/>
                    <a:pt x="707186" y="768613"/>
                    <a:pt x="717550" y="781050"/>
                  </a:cubicBezTo>
                  <a:cubicBezTo>
                    <a:pt x="725931" y="791107"/>
                    <a:pt x="742950" y="787400"/>
                    <a:pt x="755650" y="790575"/>
                  </a:cubicBezTo>
                  <a:cubicBezTo>
                    <a:pt x="758825" y="800100"/>
                    <a:pt x="756195" y="814660"/>
                    <a:pt x="765175" y="819150"/>
                  </a:cubicBezTo>
                  <a:cubicBezTo>
                    <a:pt x="786771" y="829948"/>
                    <a:pt x="808520" y="790680"/>
                    <a:pt x="812800" y="781050"/>
                  </a:cubicBezTo>
                  <a:cubicBezTo>
                    <a:pt x="836533" y="727650"/>
                    <a:pt x="820105" y="732279"/>
                    <a:pt x="850900" y="695325"/>
                  </a:cubicBezTo>
                  <a:cubicBezTo>
                    <a:pt x="859524" y="684977"/>
                    <a:pt x="869950" y="676275"/>
                    <a:pt x="879475" y="666750"/>
                  </a:cubicBezTo>
                  <a:cubicBezTo>
                    <a:pt x="889000" y="673100"/>
                    <a:pt x="901983" y="676092"/>
                    <a:pt x="908050" y="685800"/>
                  </a:cubicBezTo>
                  <a:cubicBezTo>
                    <a:pt x="918693" y="702828"/>
                    <a:pt x="920750" y="723900"/>
                    <a:pt x="927100" y="742950"/>
                  </a:cubicBezTo>
                  <a:cubicBezTo>
                    <a:pt x="944121" y="794012"/>
                    <a:pt x="930825" y="750186"/>
                    <a:pt x="946150" y="819150"/>
                  </a:cubicBezTo>
                  <a:cubicBezTo>
                    <a:pt x="954123" y="855030"/>
                    <a:pt x="954593" y="854004"/>
                    <a:pt x="965200" y="885825"/>
                  </a:cubicBezTo>
                  <a:cubicBezTo>
                    <a:pt x="949069" y="998740"/>
                    <a:pt x="953002" y="911314"/>
                    <a:pt x="965200" y="990600"/>
                  </a:cubicBezTo>
                  <a:cubicBezTo>
                    <a:pt x="969895" y="1021115"/>
                    <a:pt x="967707" y="1071814"/>
                    <a:pt x="984250" y="1104900"/>
                  </a:cubicBezTo>
                  <a:cubicBezTo>
                    <a:pt x="989370" y="1115139"/>
                    <a:pt x="996950" y="1123950"/>
                    <a:pt x="1003300" y="1133475"/>
                  </a:cubicBezTo>
                  <a:cubicBezTo>
                    <a:pt x="1000125" y="1165225"/>
                    <a:pt x="1018002" y="1207959"/>
                    <a:pt x="993775" y="1228725"/>
                  </a:cubicBezTo>
                  <a:cubicBezTo>
                    <a:pt x="976392" y="1243625"/>
                    <a:pt x="936625" y="1190625"/>
                    <a:pt x="936625" y="1190625"/>
                  </a:cubicBezTo>
                  <a:cubicBezTo>
                    <a:pt x="928170" y="1193443"/>
                    <a:pt x="881081" y="1206355"/>
                    <a:pt x="879475" y="1219200"/>
                  </a:cubicBezTo>
                  <a:cubicBezTo>
                    <a:pt x="876984" y="1239125"/>
                    <a:pt x="898525" y="1276350"/>
                    <a:pt x="898525" y="1276350"/>
                  </a:cubicBezTo>
                  <a:cubicBezTo>
                    <a:pt x="895350" y="1285875"/>
                    <a:pt x="898740" y="1302490"/>
                    <a:pt x="889000" y="1304925"/>
                  </a:cubicBezTo>
                  <a:cubicBezTo>
                    <a:pt x="872490" y="1309052"/>
                    <a:pt x="845185" y="1265872"/>
                    <a:pt x="841375" y="1257300"/>
                  </a:cubicBezTo>
                  <a:cubicBezTo>
                    <a:pt x="833220" y="1238950"/>
                    <a:pt x="828675" y="1219200"/>
                    <a:pt x="822325" y="1200150"/>
                  </a:cubicBezTo>
                  <a:lnTo>
                    <a:pt x="812800" y="1171575"/>
                  </a:lnTo>
                  <a:cubicBezTo>
                    <a:pt x="815975" y="1162050"/>
                    <a:pt x="823434" y="1152979"/>
                    <a:pt x="822325" y="1143000"/>
                  </a:cubicBezTo>
                  <a:cubicBezTo>
                    <a:pt x="820107" y="1123042"/>
                    <a:pt x="803275" y="1085850"/>
                    <a:pt x="803275" y="1085850"/>
                  </a:cubicBezTo>
                  <a:cubicBezTo>
                    <a:pt x="800100" y="1063625"/>
                    <a:pt x="798153" y="1041190"/>
                    <a:pt x="793750" y="1019175"/>
                  </a:cubicBezTo>
                  <a:cubicBezTo>
                    <a:pt x="791781" y="1009330"/>
                    <a:pt x="790497" y="998440"/>
                    <a:pt x="784225" y="990600"/>
                  </a:cubicBezTo>
                  <a:cubicBezTo>
                    <a:pt x="777074" y="981661"/>
                    <a:pt x="765175" y="977900"/>
                    <a:pt x="755650" y="971550"/>
                  </a:cubicBezTo>
                  <a:cubicBezTo>
                    <a:pt x="732980" y="903540"/>
                    <a:pt x="753308" y="925539"/>
                    <a:pt x="708025" y="895350"/>
                  </a:cubicBezTo>
                  <a:cubicBezTo>
                    <a:pt x="698500" y="901700"/>
                    <a:pt x="686601" y="905461"/>
                    <a:pt x="679450" y="914400"/>
                  </a:cubicBezTo>
                  <a:cubicBezTo>
                    <a:pt x="642505" y="960582"/>
                    <a:pt x="703695" y="931718"/>
                    <a:pt x="641350" y="952500"/>
                  </a:cubicBezTo>
                  <a:cubicBezTo>
                    <a:pt x="649919" y="978206"/>
                    <a:pt x="659955" y="991268"/>
                    <a:pt x="641350" y="1019175"/>
                  </a:cubicBezTo>
                  <a:cubicBezTo>
                    <a:pt x="635000" y="1028700"/>
                    <a:pt x="622300" y="1031875"/>
                    <a:pt x="612775" y="1038225"/>
                  </a:cubicBezTo>
                  <a:cubicBezTo>
                    <a:pt x="603250" y="1035050"/>
                    <a:pt x="594179" y="1027591"/>
                    <a:pt x="584200" y="1028700"/>
                  </a:cubicBezTo>
                  <a:cubicBezTo>
                    <a:pt x="564242" y="1030918"/>
                    <a:pt x="527050" y="1047750"/>
                    <a:pt x="527050" y="1047750"/>
                  </a:cubicBezTo>
                  <a:cubicBezTo>
                    <a:pt x="530225" y="1060450"/>
                    <a:pt x="548730" y="1080988"/>
                    <a:pt x="536575" y="1085850"/>
                  </a:cubicBezTo>
                  <a:cubicBezTo>
                    <a:pt x="517931" y="1093308"/>
                    <a:pt x="479425" y="1066800"/>
                    <a:pt x="479425" y="1066800"/>
                  </a:cubicBezTo>
                  <a:cubicBezTo>
                    <a:pt x="473075" y="1076325"/>
                    <a:pt x="471734" y="1093955"/>
                    <a:pt x="460375" y="1095375"/>
                  </a:cubicBezTo>
                  <a:cubicBezTo>
                    <a:pt x="440450" y="1097866"/>
                    <a:pt x="403225" y="1076325"/>
                    <a:pt x="403225" y="1076325"/>
                  </a:cubicBezTo>
                  <a:cubicBezTo>
                    <a:pt x="393700" y="1079500"/>
                    <a:pt x="383630" y="1081360"/>
                    <a:pt x="374650" y="1085850"/>
                  </a:cubicBezTo>
                  <a:cubicBezTo>
                    <a:pt x="364411" y="1090970"/>
                    <a:pt x="357367" y="1103018"/>
                    <a:pt x="346075" y="1104900"/>
                  </a:cubicBezTo>
                  <a:cubicBezTo>
                    <a:pt x="336171" y="1106551"/>
                    <a:pt x="327025" y="1098550"/>
                    <a:pt x="317500" y="1095375"/>
                  </a:cubicBezTo>
                  <a:cubicBezTo>
                    <a:pt x="274726" y="1138149"/>
                    <a:pt x="301704" y="1119690"/>
                    <a:pt x="231775" y="1143000"/>
                  </a:cubicBezTo>
                  <a:lnTo>
                    <a:pt x="203200" y="1152525"/>
                  </a:lnTo>
                  <a:lnTo>
                    <a:pt x="193675" y="1143000"/>
                  </a:lnTo>
                  <a:close/>
                </a:path>
              </a:pathLst>
            </a:custGeom>
            <a:grpFill/>
            <a:ln w="28575" algn="ctr">
              <a:noFill/>
              <a:round/>
              <a:headEnd type="none" w="sm" len="sm"/>
              <a:tailEnd type="none" w="sm" len="sm"/>
            </a:ln>
          </p:spPr>
          <p:txBody>
            <a:bodyPr/>
            <a:lstStyle/>
            <a:p>
              <a:pPr>
                <a:defRPr/>
              </a:pPr>
              <a:endParaRPr lang="en-GB" dirty="0">
                <a:solidFill>
                  <a:srgbClr val="626469"/>
                </a:solidFill>
              </a:endParaRPr>
            </a:p>
          </p:txBody>
        </p:sp>
        <p:sp>
          <p:nvSpPr>
            <p:cNvPr id="21" name="Freeform 17"/>
            <p:cNvSpPr>
              <a:spLocks noChangeArrowheads="1"/>
            </p:cNvSpPr>
            <p:nvPr/>
          </p:nvSpPr>
          <p:spPr bwMode="auto">
            <a:xfrm>
              <a:off x="4671823" y="5692714"/>
              <a:ext cx="152040" cy="206284"/>
            </a:xfrm>
            <a:custGeom>
              <a:avLst/>
              <a:gdLst>
                <a:gd name="T0" fmla="*/ 0 w 202695"/>
                <a:gd name="T1" fmla="*/ 0 h 275054"/>
                <a:gd name="T2" fmla="*/ 0 w 202695"/>
                <a:gd name="T3" fmla="*/ 0 h 275054"/>
                <a:gd name="T4" fmla="*/ 0 w 202695"/>
                <a:gd name="T5" fmla="*/ 0 h 275054"/>
                <a:gd name="T6" fmla="*/ 0 w 202695"/>
                <a:gd name="T7" fmla="*/ 0 h 275054"/>
                <a:gd name="T8" fmla="*/ 0 w 202695"/>
                <a:gd name="T9" fmla="*/ 0 h 275054"/>
                <a:gd name="T10" fmla="*/ 0 w 202695"/>
                <a:gd name="T11" fmla="*/ 0 h 275054"/>
                <a:gd name="T12" fmla="*/ 0 w 202695"/>
                <a:gd name="T13" fmla="*/ 0 h 275054"/>
                <a:gd name="T14" fmla="*/ 0 w 202695"/>
                <a:gd name="T15" fmla="*/ 0 h 275054"/>
                <a:gd name="T16" fmla="*/ 0 w 202695"/>
                <a:gd name="T17" fmla="*/ 0 h 275054"/>
                <a:gd name="T18" fmla="*/ 0 w 202695"/>
                <a:gd name="T19" fmla="*/ 0 h 275054"/>
                <a:gd name="T20" fmla="*/ 0 w 202695"/>
                <a:gd name="T21" fmla="*/ 0 h 275054"/>
                <a:gd name="T22" fmla="*/ 0 w 202695"/>
                <a:gd name="T23" fmla="*/ 0 h 275054"/>
                <a:gd name="T24" fmla="*/ 0 w 202695"/>
                <a:gd name="T25" fmla="*/ 0 h 275054"/>
                <a:gd name="T26" fmla="*/ 0 w 202695"/>
                <a:gd name="T27" fmla="*/ 0 h 275054"/>
                <a:gd name="T28" fmla="*/ 0 w 202695"/>
                <a:gd name="T29" fmla="*/ 0 h 275054"/>
                <a:gd name="T30" fmla="*/ 0 w 202695"/>
                <a:gd name="T31" fmla="*/ 0 h 275054"/>
                <a:gd name="T32" fmla="*/ 0 w 202695"/>
                <a:gd name="T33" fmla="*/ 0 h 275054"/>
                <a:gd name="T34" fmla="*/ 0 w 202695"/>
                <a:gd name="T35" fmla="*/ 0 h 275054"/>
                <a:gd name="T36" fmla="*/ 0 w 202695"/>
                <a:gd name="T37" fmla="*/ 0 h 2750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2695"/>
                <a:gd name="T58" fmla="*/ 0 h 275054"/>
                <a:gd name="T59" fmla="*/ 202695 w 202695"/>
                <a:gd name="T60" fmla="*/ 275054 h 2750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2695" h="275054">
                  <a:moveTo>
                    <a:pt x="21720" y="65504"/>
                  </a:moveTo>
                  <a:cubicBezTo>
                    <a:pt x="32832" y="59154"/>
                    <a:pt x="0" y="76364"/>
                    <a:pt x="78870" y="36929"/>
                  </a:cubicBezTo>
                  <a:cubicBezTo>
                    <a:pt x="152728" y="0"/>
                    <a:pt x="64196" y="32295"/>
                    <a:pt x="136020" y="8354"/>
                  </a:cubicBezTo>
                  <a:cubicBezTo>
                    <a:pt x="145545" y="14704"/>
                    <a:pt x="158528" y="17696"/>
                    <a:pt x="164595" y="27404"/>
                  </a:cubicBezTo>
                  <a:cubicBezTo>
                    <a:pt x="175238" y="44432"/>
                    <a:pt x="178775" y="65073"/>
                    <a:pt x="183645" y="84554"/>
                  </a:cubicBezTo>
                  <a:cubicBezTo>
                    <a:pt x="195605" y="132394"/>
                    <a:pt x="189030" y="110235"/>
                    <a:pt x="202695" y="151229"/>
                  </a:cubicBezTo>
                  <a:cubicBezTo>
                    <a:pt x="199520" y="160754"/>
                    <a:pt x="197660" y="170824"/>
                    <a:pt x="193170" y="179804"/>
                  </a:cubicBezTo>
                  <a:cubicBezTo>
                    <a:pt x="188050" y="190043"/>
                    <a:pt x="176002" y="197087"/>
                    <a:pt x="174120" y="208379"/>
                  </a:cubicBezTo>
                  <a:cubicBezTo>
                    <a:pt x="172469" y="218283"/>
                    <a:pt x="180470" y="227429"/>
                    <a:pt x="183645" y="236954"/>
                  </a:cubicBezTo>
                  <a:cubicBezTo>
                    <a:pt x="177295" y="246479"/>
                    <a:pt x="175224" y="261277"/>
                    <a:pt x="164595" y="265529"/>
                  </a:cubicBezTo>
                  <a:cubicBezTo>
                    <a:pt x="155273" y="269258"/>
                    <a:pt x="146060" y="256004"/>
                    <a:pt x="136020" y="256004"/>
                  </a:cubicBezTo>
                  <a:cubicBezTo>
                    <a:pt x="125980" y="256004"/>
                    <a:pt x="117185" y="263094"/>
                    <a:pt x="107445" y="265529"/>
                  </a:cubicBezTo>
                  <a:cubicBezTo>
                    <a:pt x="91739" y="269456"/>
                    <a:pt x="75695" y="271879"/>
                    <a:pt x="59820" y="275054"/>
                  </a:cubicBezTo>
                  <a:cubicBezTo>
                    <a:pt x="38692" y="268011"/>
                    <a:pt x="15941" y="266925"/>
                    <a:pt x="12195" y="236954"/>
                  </a:cubicBezTo>
                  <a:cubicBezTo>
                    <a:pt x="10187" y="220890"/>
                    <a:pt x="17460" y="204948"/>
                    <a:pt x="21720" y="189329"/>
                  </a:cubicBezTo>
                  <a:cubicBezTo>
                    <a:pt x="27004" y="169956"/>
                    <a:pt x="40770" y="132179"/>
                    <a:pt x="40770" y="132179"/>
                  </a:cubicBezTo>
                  <a:cubicBezTo>
                    <a:pt x="37595" y="122654"/>
                    <a:pt x="35735" y="112584"/>
                    <a:pt x="31245" y="103604"/>
                  </a:cubicBezTo>
                  <a:cubicBezTo>
                    <a:pt x="26125" y="93365"/>
                    <a:pt x="14077" y="86321"/>
                    <a:pt x="12195" y="75029"/>
                  </a:cubicBezTo>
                  <a:cubicBezTo>
                    <a:pt x="9068" y="56266"/>
                    <a:pt x="10608" y="71854"/>
                    <a:pt x="21720" y="65504"/>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22" name="Freeform 18"/>
            <p:cNvSpPr>
              <a:spLocks noChangeArrowheads="1"/>
            </p:cNvSpPr>
            <p:nvPr/>
          </p:nvSpPr>
          <p:spPr bwMode="auto">
            <a:xfrm>
              <a:off x="5249739" y="5470386"/>
              <a:ext cx="960336" cy="499172"/>
            </a:xfrm>
            <a:custGeom>
              <a:avLst/>
              <a:gdLst>
                <a:gd name="T0" fmla="*/ 0 w 1280300"/>
                <a:gd name="T1" fmla="*/ 0 h 665579"/>
                <a:gd name="T2" fmla="*/ 1280300 w 1280300"/>
                <a:gd name="T3" fmla="*/ 665579 h 665579"/>
              </a:gdLst>
              <a:ahLst/>
              <a:cxnLst/>
              <a:rect l="T0" t="T1" r="T2" b="T3"/>
              <a:pathLst>
                <a:path w="1280300" h="665579">
                  <a:moveTo>
                    <a:pt x="613329" y="428625"/>
                  </a:moveTo>
                  <a:cubicBezTo>
                    <a:pt x="565704" y="460375"/>
                    <a:pt x="591104" y="438150"/>
                    <a:pt x="546654" y="504825"/>
                  </a:cubicBezTo>
                  <a:lnTo>
                    <a:pt x="527604" y="533400"/>
                  </a:lnTo>
                  <a:cubicBezTo>
                    <a:pt x="521254" y="542925"/>
                    <a:pt x="512174" y="551115"/>
                    <a:pt x="508554" y="561975"/>
                  </a:cubicBezTo>
                  <a:cubicBezTo>
                    <a:pt x="505379" y="571500"/>
                    <a:pt x="506129" y="583450"/>
                    <a:pt x="499029" y="590550"/>
                  </a:cubicBezTo>
                  <a:cubicBezTo>
                    <a:pt x="491929" y="597650"/>
                    <a:pt x="480108" y="597317"/>
                    <a:pt x="470454" y="600075"/>
                  </a:cubicBezTo>
                  <a:cubicBezTo>
                    <a:pt x="386733" y="623995"/>
                    <a:pt x="472292" y="596287"/>
                    <a:pt x="403779" y="619125"/>
                  </a:cubicBezTo>
                  <a:cubicBezTo>
                    <a:pt x="339453" y="597683"/>
                    <a:pt x="418634" y="622426"/>
                    <a:pt x="318054" y="600075"/>
                  </a:cubicBezTo>
                  <a:cubicBezTo>
                    <a:pt x="308253" y="597897"/>
                    <a:pt x="299004" y="593725"/>
                    <a:pt x="289479" y="590550"/>
                  </a:cubicBezTo>
                  <a:cubicBezTo>
                    <a:pt x="267254" y="593725"/>
                    <a:pt x="244680" y="595027"/>
                    <a:pt x="222804" y="600075"/>
                  </a:cubicBezTo>
                  <a:cubicBezTo>
                    <a:pt x="203238" y="604590"/>
                    <a:pt x="165654" y="619125"/>
                    <a:pt x="165654" y="619125"/>
                  </a:cubicBezTo>
                  <a:cubicBezTo>
                    <a:pt x="149779" y="615950"/>
                    <a:pt x="131499" y="618580"/>
                    <a:pt x="118029" y="609600"/>
                  </a:cubicBezTo>
                  <a:cubicBezTo>
                    <a:pt x="109675" y="604031"/>
                    <a:pt x="108504" y="591065"/>
                    <a:pt x="108504" y="581025"/>
                  </a:cubicBezTo>
                  <a:cubicBezTo>
                    <a:pt x="108504" y="527173"/>
                    <a:pt x="114159" y="516436"/>
                    <a:pt x="127554" y="476250"/>
                  </a:cubicBezTo>
                  <a:cubicBezTo>
                    <a:pt x="82271" y="446061"/>
                    <a:pt x="109839" y="460820"/>
                    <a:pt x="41829" y="438150"/>
                  </a:cubicBezTo>
                  <a:lnTo>
                    <a:pt x="13254" y="428625"/>
                  </a:lnTo>
                  <a:cubicBezTo>
                    <a:pt x="10079" y="419100"/>
                    <a:pt x="0" y="409372"/>
                    <a:pt x="3729" y="400050"/>
                  </a:cubicBezTo>
                  <a:cubicBezTo>
                    <a:pt x="12260" y="378723"/>
                    <a:pt x="68475" y="373766"/>
                    <a:pt x="79929" y="371475"/>
                  </a:cubicBezTo>
                  <a:cubicBezTo>
                    <a:pt x="156129" y="396875"/>
                    <a:pt x="60879" y="371475"/>
                    <a:pt x="137079" y="371475"/>
                  </a:cubicBezTo>
                  <a:cubicBezTo>
                    <a:pt x="147119" y="371475"/>
                    <a:pt x="156129" y="377825"/>
                    <a:pt x="165654" y="381000"/>
                  </a:cubicBezTo>
                  <a:cubicBezTo>
                    <a:pt x="184478" y="374725"/>
                    <a:pt x="209375" y="369211"/>
                    <a:pt x="222804" y="352425"/>
                  </a:cubicBezTo>
                  <a:cubicBezTo>
                    <a:pt x="253480" y="314080"/>
                    <a:pt x="206771" y="330961"/>
                    <a:pt x="251379" y="295275"/>
                  </a:cubicBezTo>
                  <a:cubicBezTo>
                    <a:pt x="259219" y="289003"/>
                    <a:pt x="270974" y="290240"/>
                    <a:pt x="279954" y="285750"/>
                  </a:cubicBezTo>
                  <a:cubicBezTo>
                    <a:pt x="290193" y="280630"/>
                    <a:pt x="299004" y="273050"/>
                    <a:pt x="308529" y="266700"/>
                  </a:cubicBezTo>
                  <a:lnTo>
                    <a:pt x="346629" y="209550"/>
                  </a:lnTo>
                  <a:cubicBezTo>
                    <a:pt x="352979" y="200025"/>
                    <a:pt x="354819" y="184595"/>
                    <a:pt x="365679" y="180975"/>
                  </a:cubicBezTo>
                  <a:cubicBezTo>
                    <a:pt x="462406" y="148733"/>
                    <a:pt x="385258" y="170014"/>
                    <a:pt x="508554" y="152400"/>
                  </a:cubicBezTo>
                  <a:cubicBezTo>
                    <a:pt x="524581" y="150110"/>
                    <a:pt x="540560" y="147135"/>
                    <a:pt x="556179" y="142875"/>
                  </a:cubicBezTo>
                  <a:cubicBezTo>
                    <a:pt x="575552" y="137591"/>
                    <a:pt x="613329" y="123825"/>
                    <a:pt x="613329" y="123825"/>
                  </a:cubicBezTo>
                  <a:cubicBezTo>
                    <a:pt x="610154" y="111125"/>
                    <a:pt x="603804" y="98816"/>
                    <a:pt x="603804" y="85725"/>
                  </a:cubicBezTo>
                  <a:cubicBezTo>
                    <a:pt x="603804" y="70231"/>
                    <a:pt x="622747" y="38207"/>
                    <a:pt x="632379" y="28575"/>
                  </a:cubicBezTo>
                  <a:cubicBezTo>
                    <a:pt x="640474" y="20480"/>
                    <a:pt x="651429" y="15875"/>
                    <a:pt x="660954" y="9525"/>
                  </a:cubicBezTo>
                  <a:cubicBezTo>
                    <a:pt x="670479" y="12700"/>
                    <a:pt x="682429" y="11950"/>
                    <a:pt x="689529" y="19050"/>
                  </a:cubicBezTo>
                  <a:cubicBezTo>
                    <a:pt x="696629" y="26150"/>
                    <a:pt x="690884" y="41789"/>
                    <a:pt x="699054" y="47625"/>
                  </a:cubicBezTo>
                  <a:cubicBezTo>
                    <a:pt x="715394" y="59297"/>
                    <a:pt x="756204" y="66675"/>
                    <a:pt x="756204" y="66675"/>
                  </a:cubicBezTo>
                  <a:cubicBezTo>
                    <a:pt x="821523" y="44902"/>
                    <a:pt x="740452" y="70613"/>
                    <a:pt x="832404" y="47625"/>
                  </a:cubicBezTo>
                  <a:cubicBezTo>
                    <a:pt x="842144" y="45190"/>
                    <a:pt x="851325" y="40858"/>
                    <a:pt x="860979" y="38100"/>
                  </a:cubicBezTo>
                  <a:cubicBezTo>
                    <a:pt x="873566" y="34504"/>
                    <a:pt x="886540" y="32337"/>
                    <a:pt x="899079" y="28575"/>
                  </a:cubicBezTo>
                  <a:cubicBezTo>
                    <a:pt x="918313" y="22805"/>
                    <a:pt x="937179" y="15875"/>
                    <a:pt x="956229" y="9525"/>
                  </a:cubicBezTo>
                  <a:lnTo>
                    <a:pt x="984804" y="0"/>
                  </a:lnTo>
                  <a:cubicBezTo>
                    <a:pt x="991154" y="9525"/>
                    <a:pt x="995759" y="20480"/>
                    <a:pt x="1003854" y="28575"/>
                  </a:cubicBezTo>
                  <a:cubicBezTo>
                    <a:pt x="1011949" y="36670"/>
                    <a:pt x="1028177" y="36996"/>
                    <a:pt x="1032429" y="47625"/>
                  </a:cubicBezTo>
                  <a:cubicBezTo>
                    <a:pt x="1046094" y="81787"/>
                    <a:pt x="977530" y="87543"/>
                    <a:pt x="1061004" y="66675"/>
                  </a:cubicBezTo>
                  <a:cubicBezTo>
                    <a:pt x="1104673" y="132179"/>
                    <a:pt x="1106344" y="102105"/>
                    <a:pt x="1089579" y="152400"/>
                  </a:cubicBezTo>
                  <a:cubicBezTo>
                    <a:pt x="1097326" y="175641"/>
                    <a:pt x="1099690" y="191086"/>
                    <a:pt x="1118154" y="209550"/>
                  </a:cubicBezTo>
                  <a:cubicBezTo>
                    <a:pt x="1156926" y="248322"/>
                    <a:pt x="1147290" y="209924"/>
                    <a:pt x="1203879" y="247650"/>
                  </a:cubicBezTo>
                  <a:lnTo>
                    <a:pt x="1232454" y="266700"/>
                  </a:lnTo>
                  <a:cubicBezTo>
                    <a:pt x="1245154" y="285750"/>
                    <a:pt x="1277794" y="302130"/>
                    <a:pt x="1270554" y="323850"/>
                  </a:cubicBezTo>
                  <a:cubicBezTo>
                    <a:pt x="1249001" y="388508"/>
                    <a:pt x="1280300" y="314104"/>
                    <a:pt x="1203879" y="390525"/>
                  </a:cubicBezTo>
                  <a:cubicBezTo>
                    <a:pt x="1194354" y="400050"/>
                    <a:pt x="1183574" y="408467"/>
                    <a:pt x="1175304" y="419100"/>
                  </a:cubicBezTo>
                  <a:cubicBezTo>
                    <a:pt x="1161248" y="437172"/>
                    <a:pt x="1156254" y="463550"/>
                    <a:pt x="1137204" y="476250"/>
                  </a:cubicBezTo>
                  <a:cubicBezTo>
                    <a:pt x="1055312" y="530845"/>
                    <a:pt x="1158924" y="465390"/>
                    <a:pt x="1080054" y="504825"/>
                  </a:cubicBezTo>
                  <a:cubicBezTo>
                    <a:pt x="1069815" y="509945"/>
                    <a:pt x="1062001" y="519366"/>
                    <a:pt x="1051479" y="523875"/>
                  </a:cubicBezTo>
                  <a:cubicBezTo>
                    <a:pt x="1039447" y="529032"/>
                    <a:pt x="1025966" y="529804"/>
                    <a:pt x="1013379" y="533400"/>
                  </a:cubicBezTo>
                  <a:cubicBezTo>
                    <a:pt x="1003725" y="536158"/>
                    <a:pt x="994329" y="539750"/>
                    <a:pt x="984804" y="542925"/>
                  </a:cubicBezTo>
                  <a:cubicBezTo>
                    <a:pt x="949879" y="595313"/>
                    <a:pt x="984804" y="550863"/>
                    <a:pt x="937179" y="590550"/>
                  </a:cubicBezTo>
                  <a:cubicBezTo>
                    <a:pt x="926831" y="599174"/>
                    <a:pt x="919812" y="611653"/>
                    <a:pt x="908604" y="619125"/>
                  </a:cubicBezTo>
                  <a:cubicBezTo>
                    <a:pt x="900250" y="624694"/>
                    <a:pt x="889009" y="624160"/>
                    <a:pt x="880029" y="628650"/>
                  </a:cubicBezTo>
                  <a:cubicBezTo>
                    <a:pt x="806171" y="665579"/>
                    <a:pt x="894703" y="633284"/>
                    <a:pt x="822879" y="657225"/>
                  </a:cubicBezTo>
                  <a:cubicBezTo>
                    <a:pt x="802014" y="594629"/>
                    <a:pt x="797443" y="615010"/>
                    <a:pt x="813354" y="561975"/>
                  </a:cubicBezTo>
                  <a:cubicBezTo>
                    <a:pt x="819124" y="542741"/>
                    <a:pt x="813354" y="511175"/>
                    <a:pt x="832404" y="504825"/>
                  </a:cubicBezTo>
                  <a:cubicBezTo>
                    <a:pt x="851454" y="498475"/>
                    <a:pt x="872846" y="496914"/>
                    <a:pt x="889554" y="485775"/>
                  </a:cubicBezTo>
                  <a:cubicBezTo>
                    <a:pt x="926483" y="461156"/>
                    <a:pt x="907269" y="470345"/>
                    <a:pt x="946704" y="457200"/>
                  </a:cubicBezTo>
                  <a:cubicBezTo>
                    <a:pt x="965754" y="400050"/>
                    <a:pt x="959404" y="450850"/>
                    <a:pt x="927654" y="419100"/>
                  </a:cubicBezTo>
                  <a:cubicBezTo>
                    <a:pt x="920554" y="412000"/>
                    <a:pt x="921304" y="400050"/>
                    <a:pt x="918129" y="390525"/>
                  </a:cubicBezTo>
                  <a:cubicBezTo>
                    <a:pt x="941439" y="320596"/>
                    <a:pt x="922980" y="347574"/>
                    <a:pt x="965754" y="304800"/>
                  </a:cubicBezTo>
                  <a:cubicBezTo>
                    <a:pt x="959404" y="295275"/>
                    <a:pt x="958063" y="277645"/>
                    <a:pt x="946704" y="276225"/>
                  </a:cubicBezTo>
                  <a:cubicBezTo>
                    <a:pt x="918068" y="272646"/>
                    <a:pt x="883815" y="299101"/>
                    <a:pt x="860979" y="314325"/>
                  </a:cubicBezTo>
                  <a:cubicBezTo>
                    <a:pt x="830790" y="359608"/>
                    <a:pt x="852789" y="339280"/>
                    <a:pt x="784779" y="361950"/>
                  </a:cubicBezTo>
                  <a:lnTo>
                    <a:pt x="756204" y="371475"/>
                  </a:lnTo>
                  <a:cubicBezTo>
                    <a:pt x="749854" y="381000"/>
                    <a:pt x="745249" y="391955"/>
                    <a:pt x="737154" y="400050"/>
                  </a:cubicBezTo>
                  <a:cubicBezTo>
                    <a:pt x="711649" y="425555"/>
                    <a:pt x="674502" y="428836"/>
                    <a:pt x="641904" y="438150"/>
                  </a:cubicBezTo>
                  <a:cubicBezTo>
                    <a:pt x="632250" y="440908"/>
                    <a:pt x="622854" y="444500"/>
                    <a:pt x="613329" y="447675"/>
                  </a:cubicBezTo>
                  <a:cubicBezTo>
                    <a:pt x="578019" y="435905"/>
                    <a:pt x="593734" y="433660"/>
                    <a:pt x="565704" y="447675"/>
                  </a:cubicBezTo>
                  <a:cubicBezTo>
                    <a:pt x="598539" y="436730"/>
                    <a:pt x="601379" y="445250"/>
                    <a:pt x="613329" y="428625"/>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23" name="Freeform 20"/>
            <p:cNvSpPr>
              <a:spLocks noChangeArrowheads="1"/>
            </p:cNvSpPr>
            <p:nvPr/>
          </p:nvSpPr>
          <p:spPr bwMode="auto">
            <a:xfrm>
              <a:off x="5465431" y="6149024"/>
              <a:ext cx="331304" cy="307174"/>
            </a:xfrm>
            <a:custGeom>
              <a:avLst/>
              <a:gdLst>
                <a:gd name="T0" fmla="*/ 0 w 441687"/>
                <a:gd name="T1" fmla="*/ 0 h 409575"/>
                <a:gd name="T2" fmla="*/ 0 w 441687"/>
                <a:gd name="T3" fmla="*/ 0 h 409575"/>
                <a:gd name="T4" fmla="*/ 0 w 441687"/>
                <a:gd name="T5" fmla="*/ 0 h 409575"/>
                <a:gd name="T6" fmla="*/ 0 w 441687"/>
                <a:gd name="T7" fmla="*/ 0 h 409575"/>
                <a:gd name="T8" fmla="*/ 0 w 441687"/>
                <a:gd name="T9" fmla="*/ 0 h 409575"/>
                <a:gd name="T10" fmla="*/ 0 w 441687"/>
                <a:gd name="T11" fmla="*/ 0 h 409575"/>
                <a:gd name="T12" fmla="*/ 0 w 441687"/>
                <a:gd name="T13" fmla="*/ 0 h 409575"/>
                <a:gd name="T14" fmla="*/ 0 w 441687"/>
                <a:gd name="T15" fmla="*/ 0 h 409575"/>
                <a:gd name="T16" fmla="*/ 0 w 441687"/>
                <a:gd name="T17" fmla="*/ 0 h 409575"/>
                <a:gd name="T18" fmla="*/ 0 w 441687"/>
                <a:gd name="T19" fmla="*/ 0 h 409575"/>
                <a:gd name="T20" fmla="*/ 0 w 441687"/>
                <a:gd name="T21" fmla="*/ 0 h 409575"/>
                <a:gd name="T22" fmla="*/ 0 w 441687"/>
                <a:gd name="T23" fmla="*/ 0 h 409575"/>
                <a:gd name="T24" fmla="*/ 0 w 441687"/>
                <a:gd name="T25" fmla="*/ 0 h 409575"/>
                <a:gd name="T26" fmla="*/ 0 w 441687"/>
                <a:gd name="T27" fmla="*/ 0 h 409575"/>
                <a:gd name="T28" fmla="*/ 0 w 441687"/>
                <a:gd name="T29" fmla="*/ 0 h 409575"/>
                <a:gd name="T30" fmla="*/ 0 w 441687"/>
                <a:gd name="T31" fmla="*/ 0 h 409575"/>
                <a:gd name="T32" fmla="*/ 0 w 441687"/>
                <a:gd name="T33" fmla="*/ 0 h 409575"/>
                <a:gd name="T34" fmla="*/ 0 w 441687"/>
                <a:gd name="T35" fmla="*/ 0 h 409575"/>
                <a:gd name="T36" fmla="*/ 0 w 441687"/>
                <a:gd name="T37" fmla="*/ 0 h 409575"/>
                <a:gd name="T38" fmla="*/ 0 w 441687"/>
                <a:gd name="T39" fmla="*/ 0 h 409575"/>
                <a:gd name="T40" fmla="*/ 0 w 441687"/>
                <a:gd name="T41" fmla="*/ 0 h 409575"/>
                <a:gd name="T42" fmla="*/ 0 w 441687"/>
                <a:gd name="T43" fmla="*/ 0 h 409575"/>
                <a:gd name="T44" fmla="*/ 0 w 441687"/>
                <a:gd name="T45" fmla="*/ 0 h 409575"/>
                <a:gd name="T46" fmla="*/ 0 w 441687"/>
                <a:gd name="T47" fmla="*/ 0 h 409575"/>
                <a:gd name="T48" fmla="*/ 0 w 441687"/>
                <a:gd name="T49" fmla="*/ 0 h 409575"/>
                <a:gd name="T50" fmla="*/ 0 w 441687"/>
                <a:gd name="T51" fmla="*/ 0 h 409575"/>
                <a:gd name="T52" fmla="*/ 0 w 441687"/>
                <a:gd name="T53" fmla="*/ 0 h 409575"/>
                <a:gd name="T54" fmla="*/ 0 w 441687"/>
                <a:gd name="T55" fmla="*/ 0 h 409575"/>
                <a:gd name="T56" fmla="*/ 0 w 441687"/>
                <a:gd name="T57" fmla="*/ 0 h 409575"/>
                <a:gd name="T58" fmla="*/ 0 w 441687"/>
                <a:gd name="T59" fmla="*/ 0 h 409575"/>
                <a:gd name="T60" fmla="*/ 0 w 441687"/>
                <a:gd name="T61" fmla="*/ 0 h 409575"/>
                <a:gd name="T62" fmla="*/ 0 w 441687"/>
                <a:gd name="T63" fmla="*/ 0 h 409575"/>
                <a:gd name="T64" fmla="*/ 0 w 441687"/>
                <a:gd name="T65" fmla="*/ 0 h 409575"/>
                <a:gd name="T66" fmla="*/ 0 w 441687"/>
                <a:gd name="T67" fmla="*/ 0 h 40957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1687"/>
                <a:gd name="T103" fmla="*/ 0 h 409575"/>
                <a:gd name="T104" fmla="*/ 441687 w 441687"/>
                <a:gd name="T105" fmla="*/ 409575 h 40957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1687" h="409575">
                  <a:moveTo>
                    <a:pt x="11448" y="285750"/>
                  </a:moveTo>
                  <a:cubicBezTo>
                    <a:pt x="20973" y="282575"/>
                    <a:pt x="32183" y="282497"/>
                    <a:pt x="40023" y="276225"/>
                  </a:cubicBezTo>
                  <a:cubicBezTo>
                    <a:pt x="48962" y="269074"/>
                    <a:pt x="51744" y="256444"/>
                    <a:pt x="59073" y="247650"/>
                  </a:cubicBezTo>
                  <a:cubicBezTo>
                    <a:pt x="67697" y="237302"/>
                    <a:pt x="78123" y="228600"/>
                    <a:pt x="87648" y="219075"/>
                  </a:cubicBezTo>
                  <a:cubicBezTo>
                    <a:pt x="93998" y="200025"/>
                    <a:pt x="101828" y="181406"/>
                    <a:pt x="106698" y="161925"/>
                  </a:cubicBezTo>
                  <a:cubicBezTo>
                    <a:pt x="109750" y="149718"/>
                    <a:pt x="118916" y="108915"/>
                    <a:pt x="125748" y="95250"/>
                  </a:cubicBezTo>
                  <a:cubicBezTo>
                    <a:pt x="130868" y="85011"/>
                    <a:pt x="138448" y="76200"/>
                    <a:pt x="144798" y="66675"/>
                  </a:cubicBezTo>
                  <a:cubicBezTo>
                    <a:pt x="154323" y="69850"/>
                    <a:pt x="163848" y="79375"/>
                    <a:pt x="173373" y="76200"/>
                  </a:cubicBezTo>
                  <a:cubicBezTo>
                    <a:pt x="186152" y="71940"/>
                    <a:pt x="191600" y="56249"/>
                    <a:pt x="201948" y="47625"/>
                  </a:cubicBezTo>
                  <a:cubicBezTo>
                    <a:pt x="210742" y="40296"/>
                    <a:pt x="220062" y="33224"/>
                    <a:pt x="230523" y="28575"/>
                  </a:cubicBezTo>
                  <a:cubicBezTo>
                    <a:pt x="248873" y="20420"/>
                    <a:pt x="268623" y="15875"/>
                    <a:pt x="287673" y="9525"/>
                  </a:cubicBezTo>
                  <a:lnTo>
                    <a:pt x="316248" y="0"/>
                  </a:lnTo>
                  <a:cubicBezTo>
                    <a:pt x="316578" y="82"/>
                    <a:pt x="378368" y="14495"/>
                    <a:pt x="382923" y="19050"/>
                  </a:cubicBezTo>
                  <a:cubicBezTo>
                    <a:pt x="390023" y="26150"/>
                    <a:pt x="389273" y="38100"/>
                    <a:pt x="392448" y="47625"/>
                  </a:cubicBezTo>
                  <a:cubicBezTo>
                    <a:pt x="382923" y="50800"/>
                    <a:pt x="367602" y="47828"/>
                    <a:pt x="363873" y="57150"/>
                  </a:cubicBezTo>
                  <a:cubicBezTo>
                    <a:pt x="359011" y="69305"/>
                    <a:pt x="368241" y="83218"/>
                    <a:pt x="373398" y="95250"/>
                  </a:cubicBezTo>
                  <a:cubicBezTo>
                    <a:pt x="386098" y="124883"/>
                    <a:pt x="395623" y="125942"/>
                    <a:pt x="421023" y="142875"/>
                  </a:cubicBezTo>
                  <a:cubicBezTo>
                    <a:pt x="386285" y="247088"/>
                    <a:pt x="441687" y="89238"/>
                    <a:pt x="392448" y="200025"/>
                  </a:cubicBezTo>
                  <a:cubicBezTo>
                    <a:pt x="384293" y="218375"/>
                    <a:pt x="379748" y="238125"/>
                    <a:pt x="373398" y="257175"/>
                  </a:cubicBezTo>
                  <a:lnTo>
                    <a:pt x="363873" y="285750"/>
                  </a:lnTo>
                  <a:cubicBezTo>
                    <a:pt x="360698" y="295275"/>
                    <a:pt x="359917" y="305971"/>
                    <a:pt x="354348" y="314325"/>
                  </a:cubicBezTo>
                  <a:cubicBezTo>
                    <a:pt x="347998" y="323850"/>
                    <a:pt x="340418" y="332661"/>
                    <a:pt x="335298" y="342900"/>
                  </a:cubicBezTo>
                  <a:cubicBezTo>
                    <a:pt x="330808" y="351880"/>
                    <a:pt x="332045" y="363635"/>
                    <a:pt x="325773" y="371475"/>
                  </a:cubicBezTo>
                  <a:cubicBezTo>
                    <a:pt x="318622" y="380414"/>
                    <a:pt x="307659" y="385876"/>
                    <a:pt x="297198" y="390525"/>
                  </a:cubicBezTo>
                  <a:cubicBezTo>
                    <a:pt x="278848" y="398680"/>
                    <a:pt x="240048" y="409575"/>
                    <a:pt x="240048" y="409575"/>
                  </a:cubicBezTo>
                  <a:cubicBezTo>
                    <a:pt x="227348" y="406400"/>
                    <a:pt x="213980" y="405207"/>
                    <a:pt x="201948" y="400050"/>
                  </a:cubicBezTo>
                  <a:cubicBezTo>
                    <a:pt x="191426" y="395541"/>
                    <a:pt x="184665" y="382882"/>
                    <a:pt x="173373" y="381000"/>
                  </a:cubicBezTo>
                  <a:cubicBezTo>
                    <a:pt x="163469" y="379349"/>
                    <a:pt x="154323" y="387350"/>
                    <a:pt x="144798" y="390525"/>
                  </a:cubicBezTo>
                  <a:cubicBezTo>
                    <a:pt x="135273" y="387350"/>
                    <a:pt x="126263" y="381000"/>
                    <a:pt x="116223" y="381000"/>
                  </a:cubicBezTo>
                  <a:cubicBezTo>
                    <a:pt x="106183" y="381000"/>
                    <a:pt x="95818" y="396361"/>
                    <a:pt x="87648" y="390525"/>
                  </a:cubicBezTo>
                  <a:cubicBezTo>
                    <a:pt x="69017" y="377217"/>
                    <a:pt x="62248" y="352425"/>
                    <a:pt x="49548" y="333375"/>
                  </a:cubicBezTo>
                  <a:lnTo>
                    <a:pt x="30498" y="304800"/>
                  </a:lnTo>
                  <a:cubicBezTo>
                    <a:pt x="24148" y="295275"/>
                    <a:pt x="0" y="276225"/>
                    <a:pt x="11448" y="276225"/>
                  </a:cubicBezTo>
                  <a:lnTo>
                    <a:pt x="11448" y="285750"/>
                  </a:ln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24" name="Freeform 21"/>
            <p:cNvSpPr>
              <a:spLocks noChangeArrowheads="1"/>
            </p:cNvSpPr>
            <p:nvPr/>
          </p:nvSpPr>
          <p:spPr bwMode="auto">
            <a:xfrm>
              <a:off x="5331127" y="6360950"/>
              <a:ext cx="228626" cy="438138"/>
            </a:xfrm>
            <a:custGeom>
              <a:avLst/>
              <a:gdLst>
                <a:gd name="T0" fmla="*/ 0 w 295275"/>
                <a:gd name="T1" fmla="*/ 0 h 584200"/>
                <a:gd name="T2" fmla="*/ 0 w 295275"/>
                <a:gd name="T3" fmla="*/ 0 h 584200"/>
                <a:gd name="T4" fmla="*/ 0 w 295275"/>
                <a:gd name="T5" fmla="*/ 0 h 584200"/>
                <a:gd name="T6" fmla="*/ 0 w 295275"/>
                <a:gd name="T7" fmla="*/ 0 h 584200"/>
                <a:gd name="T8" fmla="*/ 0 w 295275"/>
                <a:gd name="T9" fmla="*/ 0 h 584200"/>
                <a:gd name="T10" fmla="*/ 0 w 295275"/>
                <a:gd name="T11" fmla="*/ 0 h 584200"/>
                <a:gd name="T12" fmla="*/ 0 w 295275"/>
                <a:gd name="T13" fmla="*/ 0 h 584200"/>
                <a:gd name="T14" fmla="*/ 0 w 295275"/>
                <a:gd name="T15" fmla="*/ 0 h 584200"/>
                <a:gd name="T16" fmla="*/ 0 w 295275"/>
                <a:gd name="T17" fmla="*/ 0 h 584200"/>
                <a:gd name="T18" fmla="*/ 0 w 295275"/>
                <a:gd name="T19" fmla="*/ 0 h 584200"/>
                <a:gd name="T20" fmla="*/ 0 w 295275"/>
                <a:gd name="T21" fmla="*/ 0 h 584200"/>
                <a:gd name="T22" fmla="*/ 0 w 295275"/>
                <a:gd name="T23" fmla="*/ 0 h 584200"/>
                <a:gd name="T24" fmla="*/ 0 w 295275"/>
                <a:gd name="T25" fmla="*/ 0 h 584200"/>
                <a:gd name="T26" fmla="*/ 0 w 295275"/>
                <a:gd name="T27" fmla="*/ 0 h 584200"/>
                <a:gd name="T28" fmla="*/ 0 w 295275"/>
                <a:gd name="T29" fmla="*/ 0 h 584200"/>
                <a:gd name="T30" fmla="*/ 0 w 295275"/>
                <a:gd name="T31" fmla="*/ 0 h 584200"/>
                <a:gd name="T32" fmla="*/ 0 w 295275"/>
                <a:gd name="T33" fmla="*/ 0 h 584200"/>
                <a:gd name="T34" fmla="*/ 0 w 295275"/>
                <a:gd name="T35" fmla="*/ 0 h 584200"/>
                <a:gd name="T36" fmla="*/ 0 w 295275"/>
                <a:gd name="T37" fmla="*/ 0 h 584200"/>
                <a:gd name="T38" fmla="*/ 0 w 295275"/>
                <a:gd name="T39" fmla="*/ 0 h 584200"/>
                <a:gd name="T40" fmla="*/ 0 w 295275"/>
                <a:gd name="T41" fmla="*/ 0 h 584200"/>
                <a:gd name="T42" fmla="*/ 0 w 295275"/>
                <a:gd name="T43" fmla="*/ 0 h 584200"/>
                <a:gd name="T44" fmla="*/ 0 w 295275"/>
                <a:gd name="T45" fmla="*/ 0 h 584200"/>
                <a:gd name="T46" fmla="*/ 0 w 295275"/>
                <a:gd name="T47" fmla="*/ 0 h 584200"/>
                <a:gd name="T48" fmla="*/ 0 w 295275"/>
                <a:gd name="T49" fmla="*/ 0 h 584200"/>
                <a:gd name="T50" fmla="*/ 0 w 295275"/>
                <a:gd name="T51" fmla="*/ 0 h 584200"/>
                <a:gd name="T52" fmla="*/ 0 w 295275"/>
                <a:gd name="T53" fmla="*/ 0 h 5842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5275"/>
                <a:gd name="T82" fmla="*/ 0 h 584200"/>
                <a:gd name="T83" fmla="*/ 295275 w 295275"/>
                <a:gd name="T84" fmla="*/ 584200 h 58420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5275" h="584200">
                  <a:moveTo>
                    <a:pt x="190500" y="3175"/>
                  </a:moveTo>
                  <a:cubicBezTo>
                    <a:pt x="187325" y="6350"/>
                    <a:pt x="170020" y="14130"/>
                    <a:pt x="161925" y="22225"/>
                  </a:cubicBezTo>
                  <a:cubicBezTo>
                    <a:pt x="153830" y="30320"/>
                    <a:pt x="151814" y="43649"/>
                    <a:pt x="142875" y="50800"/>
                  </a:cubicBezTo>
                  <a:cubicBezTo>
                    <a:pt x="135035" y="57072"/>
                    <a:pt x="123280" y="55835"/>
                    <a:pt x="114300" y="60325"/>
                  </a:cubicBezTo>
                  <a:cubicBezTo>
                    <a:pt x="104061" y="65445"/>
                    <a:pt x="95250" y="73025"/>
                    <a:pt x="85725" y="79375"/>
                  </a:cubicBezTo>
                  <a:cubicBezTo>
                    <a:pt x="88900" y="88900"/>
                    <a:pt x="95250" y="97910"/>
                    <a:pt x="95250" y="107950"/>
                  </a:cubicBezTo>
                  <a:cubicBezTo>
                    <a:pt x="95250" y="121041"/>
                    <a:pt x="94345" y="136198"/>
                    <a:pt x="85725" y="146050"/>
                  </a:cubicBezTo>
                  <a:cubicBezTo>
                    <a:pt x="58753" y="176875"/>
                    <a:pt x="33398" y="182542"/>
                    <a:pt x="0" y="193675"/>
                  </a:cubicBezTo>
                  <a:cubicBezTo>
                    <a:pt x="9525" y="200025"/>
                    <a:pt x="18336" y="207605"/>
                    <a:pt x="28575" y="212725"/>
                  </a:cubicBezTo>
                  <a:cubicBezTo>
                    <a:pt x="37555" y="217215"/>
                    <a:pt x="50050" y="215150"/>
                    <a:pt x="57150" y="222250"/>
                  </a:cubicBezTo>
                  <a:cubicBezTo>
                    <a:pt x="73339" y="238439"/>
                    <a:pt x="95250" y="279400"/>
                    <a:pt x="95250" y="279400"/>
                  </a:cubicBezTo>
                  <a:cubicBezTo>
                    <a:pt x="97799" y="302344"/>
                    <a:pt x="109936" y="415143"/>
                    <a:pt x="114300" y="441325"/>
                  </a:cubicBezTo>
                  <a:cubicBezTo>
                    <a:pt x="116452" y="454238"/>
                    <a:pt x="121258" y="466588"/>
                    <a:pt x="123825" y="479425"/>
                  </a:cubicBezTo>
                  <a:cubicBezTo>
                    <a:pt x="123948" y="480042"/>
                    <a:pt x="132988" y="552792"/>
                    <a:pt x="142875" y="565150"/>
                  </a:cubicBezTo>
                  <a:cubicBezTo>
                    <a:pt x="150026" y="574089"/>
                    <a:pt x="161925" y="577850"/>
                    <a:pt x="171450" y="584200"/>
                  </a:cubicBezTo>
                  <a:cubicBezTo>
                    <a:pt x="180975" y="577850"/>
                    <a:pt x="193958" y="574858"/>
                    <a:pt x="200025" y="565150"/>
                  </a:cubicBezTo>
                  <a:cubicBezTo>
                    <a:pt x="210668" y="548122"/>
                    <a:pt x="219075" y="508000"/>
                    <a:pt x="219075" y="508000"/>
                  </a:cubicBezTo>
                  <a:cubicBezTo>
                    <a:pt x="205565" y="426940"/>
                    <a:pt x="206872" y="476444"/>
                    <a:pt x="219075" y="403225"/>
                  </a:cubicBezTo>
                  <a:cubicBezTo>
                    <a:pt x="223463" y="376899"/>
                    <a:pt x="224433" y="335359"/>
                    <a:pt x="238125" y="307975"/>
                  </a:cubicBezTo>
                  <a:cubicBezTo>
                    <a:pt x="243245" y="297736"/>
                    <a:pt x="249080" y="287495"/>
                    <a:pt x="257175" y="279400"/>
                  </a:cubicBezTo>
                  <a:cubicBezTo>
                    <a:pt x="265270" y="271305"/>
                    <a:pt x="276225" y="266700"/>
                    <a:pt x="285750" y="260350"/>
                  </a:cubicBezTo>
                  <a:cubicBezTo>
                    <a:pt x="288925" y="250825"/>
                    <a:pt x="295275" y="241815"/>
                    <a:pt x="295275" y="231775"/>
                  </a:cubicBezTo>
                  <a:cubicBezTo>
                    <a:pt x="295275" y="199869"/>
                    <a:pt x="275769" y="116107"/>
                    <a:pt x="266700" y="88900"/>
                  </a:cubicBezTo>
                  <a:cubicBezTo>
                    <a:pt x="263525" y="79375"/>
                    <a:pt x="264275" y="67425"/>
                    <a:pt x="257175" y="60325"/>
                  </a:cubicBezTo>
                  <a:cubicBezTo>
                    <a:pt x="250075" y="53225"/>
                    <a:pt x="238125" y="53975"/>
                    <a:pt x="228600" y="50800"/>
                  </a:cubicBezTo>
                  <a:cubicBezTo>
                    <a:pt x="216877" y="33215"/>
                    <a:pt x="205398" y="8060"/>
                    <a:pt x="180975" y="3175"/>
                  </a:cubicBezTo>
                  <a:cubicBezTo>
                    <a:pt x="174013" y="1783"/>
                    <a:pt x="193675" y="0"/>
                    <a:pt x="190500" y="3175"/>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25" name="Freeform 22"/>
            <p:cNvSpPr>
              <a:spLocks noChangeArrowheads="1"/>
            </p:cNvSpPr>
            <p:nvPr/>
          </p:nvSpPr>
          <p:spPr bwMode="auto">
            <a:xfrm>
              <a:off x="5212049" y="6341900"/>
              <a:ext cx="226246" cy="278600"/>
            </a:xfrm>
            <a:custGeom>
              <a:avLst/>
              <a:gdLst>
                <a:gd name="T0" fmla="*/ 0 w 277941"/>
                <a:gd name="T1" fmla="*/ 0 h 346629"/>
                <a:gd name="T2" fmla="*/ 0 w 277941"/>
                <a:gd name="T3" fmla="*/ 0 h 346629"/>
                <a:gd name="T4" fmla="*/ 0 w 277941"/>
                <a:gd name="T5" fmla="*/ 0 h 346629"/>
                <a:gd name="T6" fmla="*/ 0 w 277941"/>
                <a:gd name="T7" fmla="*/ 0 h 346629"/>
                <a:gd name="T8" fmla="*/ 0 w 277941"/>
                <a:gd name="T9" fmla="*/ 0 h 346629"/>
                <a:gd name="T10" fmla="*/ 0 w 277941"/>
                <a:gd name="T11" fmla="*/ 0 h 346629"/>
                <a:gd name="T12" fmla="*/ 0 w 277941"/>
                <a:gd name="T13" fmla="*/ 0 h 346629"/>
                <a:gd name="T14" fmla="*/ 0 w 277941"/>
                <a:gd name="T15" fmla="*/ 0 h 346629"/>
                <a:gd name="T16" fmla="*/ 0 w 277941"/>
                <a:gd name="T17" fmla="*/ 0 h 346629"/>
                <a:gd name="T18" fmla="*/ 0 w 277941"/>
                <a:gd name="T19" fmla="*/ 0 h 346629"/>
                <a:gd name="T20" fmla="*/ 0 w 277941"/>
                <a:gd name="T21" fmla="*/ 0 h 346629"/>
                <a:gd name="T22" fmla="*/ 0 w 277941"/>
                <a:gd name="T23" fmla="*/ 0 h 346629"/>
                <a:gd name="T24" fmla="*/ 0 w 277941"/>
                <a:gd name="T25" fmla="*/ 0 h 346629"/>
                <a:gd name="T26" fmla="*/ 0 w 277941"/>
                <a:gd name="T27" fmla="*/ 0 h 346629"/>
                <a:gd name="T28" fmla="*/ 0 w 277941"/>
                <a:gd name="T29" fmla="*/ 0 h 346629"/>
                <a:gd name="T30" fmla="*/ 0 w 277941"/>
                <a:gd name="T31" fmla="*/ 0 h 346629"/>
                <a:gd name="T32" fmla="*/ 0 w 277941"/>
                <a:gd name="T33" fmla="*/ 0 h 346629"/>
                <a:gd name="T34" fmla="*/ 0 w 277941"/>
                <a:gd name="T35" fmla="*/ 0 h 346629"/>
                <a:gd name="T36" fmla="*/ 0 w 277941"/>
                <a:gd name="T37" fmla="*/ 0 h 346629"/>
                <a:gd name="T38" fmla="*/ 0 w 277941"/>
                <a:gd name="T39" fmla="*/ 0 h 34662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7941"/>
                <a:gd name="T61" fmla="*/ 0 h 346629"/>
                <a:gd name="T62" fmla="*/ 277941 w 277941"/>
                <a:gd name="T63" fmla="*/ 346629 h 34662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7941" h="346629">
                  <a:moveTo>
                    <a:pt x="254000" y="60879"/>
                  </a:moveTo>
                  <a:cubicBezTo>
                    <a:pt x="250825" y="48179"/>
                    <a:pt x="239628" y="9410"/>
                    <a:pt x="225425" y="3729"/>
                  </a:cubicBezTo>
                  <a:cubicBezTo>
                    <a:pt x="216103" y="0"/>
                    <a:pt x="206375" y="10079"/>
                    <a:pt x="196850" y="13254"/>
                  </a:cubicBezTo>
                  <a:cubicBezTo>
                    <a:pt x="190500" y="22779"/>
                    <a:pt x="186739" y="34678"/>
                    <a:pt x="177800" y="41829"/>
                  </a:cubicBezTo>
                  <a:cubicBezTo>
                    <a:pt x="169960" y="48101"/>
                    <a:pt x="158205" y="46864"/>
                    <a:pt x="149225" y="51354"/>
                  </a:cubicBezTo>
                  <a:cubicBezTo>
                    <a:pt x="66111" y="92911"/>
                    <a:pt x="181668" y="50194"/>
                    <a:pt x="82550" y="79929"/>
                  </a:cubicBezTo>
                  <a:cubicBezTo>
                    <a:pt x="63316" y="85699"/>
                    <a:pt x="25400" y="98979"/>
                    <a:pt x="25400" y="98979"/>
                  </a:cubicBezTo>
                  <a:cubicBezTo>
                    <a:pt x="3175" y="165654"/>
                    <a:pt x="0" y="137079"/>
                    <a:pt x="15875" y="184704"/>
                  </a:cubicBezTo>
                  <a:cubicBezTo>
                    <a:pt x="18893" y="211866"/>
                    <a:pt x="18968" y="267089"/>
                    <a:pt x="34925" y="299004"/>
                  </a:cubicBezTo>
                  <a:cubicBezTo>
                    <a:pt x="40045" y="309243"/>
                    <a:pt x="45880" y="319484"/>
                    <a:pt x="53975" y="327579"/>
                  </a:cubicBezTo>
                  <a:cubicBezTo>
                    <a:pt x="62070" y="335674"/>
                    <a:pt x="73025" y="340279"/>
                    <a:pt x="82550" y="346629"/>
                  </a:cubicBezTo>
                  <a:cubicBezTo>
                    <a:pt x="92075" y="340279"/>
                    <a:pt x="105058" y="337287"/>
                    <a:pt x="111125" y="327579"/>
                  </a:cubicBezTo>
                  <a:cubicBezTo>
                    <a:pt x="121768" y="310551"/>
                    <a:pt x="123825" y="289479"/>
                    <a:pt x="130175" y="270429"/>
                  </a:cubicBezTo>
                  <a:cubicBezTo>
                    <a:pt x="133350" y="260904"/>
                    <a:pt x="134131" y="250208"/>
                    <a:pt x="139700" y="241854"/>
                  </a:cubicBezTo>
                  <a:cubicBezTo>
                    <a:pt x="146050" y="232329"/>
                    <a:pt x="149811" y="220430"/>
                    <a:pt x="158750" y="213279"/>
                  </a:cubicBezTo>
                  <a:cubicBezTo>
                    <a:pt x="166590" y="207007"/>
                    <a:pt x="177800" y="206929"/>
                    <a:pt x="187325" y="203754"/>
                  </a:cubicBezTo>
                  <a:cubicBezTo>
                    <a:pt x="190500" y="187879"/>
                    <a:pt x="185402" y="167577"/>
                    <a:pt x="196850" y="156129"/>
                  </a:cubicBezTo>
                  <a:cubicBezTo>
                    <a:pt x="211049" y="141930"/>
                    <a:pt x="254000" y="137079"/>
                    <a:pt x="254000" y="137079"/>
                  </a:cubicBezTo>
                  <a:cubicBezTo>
                    <a:pt x="277941" y="65255"/>
                    <a:pt x="256785" y="153787"/>
                    <a:pt x="244475" y="79929"/>
                  </a:cubicBezTo>
                  <a:cubicBezTo>
                    <a:pt x="242824" y="70025"/>
                    <a:pt x="257175" y="73579"/>
                    <a:pt x="254000" y="60879"/>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26" name="Freeform 23"/>
            <p:cNvSpPr>
              <a:spLocks noChangeArrowheads="1"/>
            </p:cNvSpPr>
            <p:nvPr/>
          </p:nvSpPr>
          <p:spPr bwMode="auto">
            <a:xfrm>
              <a:off x="4977389" y="6066730"/>
              <a:ext cx="475194" cy="195748"/>
            </a:xfrm>
            <a:custGeom>
              <a:avLst/>
              <a:gdLst>
                <a:gd name="T0" fmla="*/ 0 w 633520"/>
                <a:gd name="T1" fmla="*/ 0 h 261006"/>
                <a:gd name="T2" fmla="*/ 0 w 633520"/>
                <a:gd name="T3" fmla="*/ 0 h 261006"/>
                <a:gd name="T4" fmla="*/ 0 w 633520"/>
                <a:gd name="T5" fmla="*/ 0 h 261006"/>
                <a:gd name="T6" fmla="*/ 0 w 633520"/>
                <a:gd name="T7" fmla="*/ 0 h 261006"/>
                <a:gd name="T8" fmla="*/ 0 w 633520"/>
                <a:gd name="T9" fmla="*/ 0 h 261006"/>
                <a:gd name="T10" fmla="*/ 0 w 633520"/>
                <a:gd name="T11" fmla="*/ 0 h 261006"/>
                <a:gd name="T12" fmla="*/ 0 w 633520"/>
                <a:gd name="T13" fmla="*/ 0 h 261006"/>
                <a:gd name="T14" fmla="*/ 0 w 633520"/>
                <a:gd name="T15" fmla="*/ 0 h 261006"/>
                <a:gd name="T16" fmla="*/ 0 w 633520"/>
                <a:gd name="T17" fmla="*/ 0 h 261006"/>
                <a:gd name="T18" fmla="*/ 0 w 633520"/>
                <a:gd name="T19" fmla="*/ 0 h 261006"/>
                <a:gd name="T20" fmla="*/ 0 w 633520"/>
                <a:gd name="T21" fmla="*/ 0 h 261006"/>
                <a:gd name="T22" fmla="*/ 0 w 633520"/>
                <a:gd name="T23" fmla="*/ 0 h 261006"/>
                <a:gd name="T24" fmla="*/ 0 w 633520"/>
                <a:gd name="T25" fmla="*/ 0 h 261006"/>
                <a:gd name="T26" fmla="*/ 0 w 633520"/>
                <a:gd name="T27" fmla="*/ 0 h 261006"/>
                <a:gd name="T28" fmla="*/ 0 w 633520"/>
                <a:gd name="T29" fmla="*/ 0 h 261006"/>
                <a:gd name="T30" fmla="*/ 0 w 633520"/>
                <a:gd name="T31" fmla="*/ 0 h 261006"/>
                <a:gd name="T32" fmla="*/ 0 w 633520"/>
                <a:gd name="T33" fmla="*/ 0 h 261006"/>
                <a:gd name="T34" fmla="*/ 0 w 633520"/>
                <a:gd name="T35" fmla="*/ 0 h 261006"/>
                <a:gd name="T36" fmla="*/ 0 w 633520"/>
                <a:gd name="T37" fmla="*/ 0 h 261006"/>
                <a:gd name="T38" fmla="*/ 0 w 633520"/>
                <a:gd name="T39" fmla="*/ 0 h 261006"/>
                <a:gd name="T40" fmla="*/ 0 w 633520"/>
                <a:gd name="T41" fmla="*/ 0 h 261006"/>
                <a:gd name="T42" fmla="*/ 0 w 633520"/>
                <a:gd name="T43" fmla="*/ 0 h 261006"/>
                <a:gd name="T44" fmla="*/ 0 w 633520"/>
                <a:gd name="T45" fmla="*/ 0 h 261006"/>
                <a:gd name="T46" fmla="*/ 0 w 633520"/>
                <a:gd name="T47" fmla="*/ 0 h 261006"/>
                <a:gd name="T48" fmla="*/ 0 w 633520"/>
                <a:gd name="T49" fmla="*/ 0 h 261006"/>
                <a:gd name="T50" fmla="*/ 0 w 633520"/>
                <a:gd name="T51" fmla="*/ 0 h 261006"/>
                <a:gd name="T52" fmla="*/ 0 w 633520"/>
                <a:gd name="T53" fmla="*/ 0 h 261006"/>
                <a:gd name="T54" fmla="*/ 0 w 633520"/>
                <a:gd name="T55" fmla="*/ 0 h 261006"/>
                <a:gd name="T56" fmla="*/ 0 w 633520"/>
                <a:gd name="T57" fmla="*/ 0 h 261006"/>
                <a:gd name="T58" fmla="*/ 0 w 633520"/>
                <a:gd name="T59" fmla="*/ 0 h 261006"/>
                <a:gd name="T60" fmla="*/ 0 w 633520"/>
                <a:gd name="T61" fmla="*/ 0 h 261006"/>
                <a:gd name="T62" fmla="*/ 0 w 633520"/>
                <a:gd name="T63" fmla="*/ 0 h 26100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33520"/>
                <a:gd name="T97" fmla="*/ 0 h 261006"/>
                <a:gd name="T98" fmla="*/ 633520 w 633520"/>
                <a:gd name="T99" fmla="*/ 261006 h 26100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33520" h="261006">
                  <a:moveTo>
                    <a:pt x="566845" y="185927"/>
                  </a:moveTo>
                  <a:cubicBezTo>
                    <a:pt x="560495" y="187515"/>
                    <a:pt x="552915" y="204263"/>
                    <a:pt x="547795" y="214502"/>
                  </a:cubicBezTo>
                  <a:cubicBezTo>
                    <a:pt x="543305" y="223482"/>
                    <a:pt x="548269" y="242168"/>
                    <a:pt x="538270" y="243077"/>
                  </a:cubicBezTo>
                  <a:cubicBezTo>
                    <a:pt x="506024" y="246008"/>
                    <a:pt x="443020" y="224027"/>
                    <a:pt x="443020" y="224027"/>
                  </a:cubicBezTo>
                  <a:cubicBezTo>
                    <a:pt x="361853" y="251083"/>
                    <a:pt x="486603" y="213668"/>
                    <a:pt x="300145" y="224027"/>
                  </a:cubicBezTo>
                  <a:cubicBezTo>
                    <a:pt x="280095" y="225141"/>
                    <a:pt x="242995" y="243077"/>
                    <a:pt x="242995" y="243077"/>
                  </a:cubicBezTo>
                  <a:cubicBezTo>
                    <a:pt x="171171" y="219136"/>
                    <a:pt x="259703" y="240292"/>
                    <a:pt x="185845" y="252602"/>
                  </a:cubicBezTo>
                  <a:cubicBezTo>
                    <a:pt x="175941" y="254253"/>
                    <a:pt x="166795" y="246252"/>
                    <a:pt x="157270" y="243077"/>
                  </a:cubicBezTo>
                  <a:cubicBezTo>
                    <a:pt x="134858" y="250548"/>
                    <a:pt x="122532" y="261006"/>
                    <a:pt x="100120" y="243077"/>
                  </a:cubicBezTo>
                  <a:cubicBezTo>
                    <a:pt x="91181" y="235926"/>
                    <a:pt x="90009" y="221653"/>
                    <a:pt x="81070" y="214502"/>
                  </a:cubicBezTo>
                  <a:cubicBezTo>
                    <a:pt x="73230" y="208230"/>
                    <a:pt x="61475" y="209467"/>
                    <a:pt x="52495" y="204977"/>
                  </a:cubicBezTo>
                  <a:cubicBezTo>
                    <a:pt x="42256" y="199857"/>
                    <a:pt x="33445" y="192277"/>
                    <a:pt x="23920" y="185927"/>
                  </a:cubicBezTo>
                  <a:cubicBezTo>
                    <a:pt x="17570" y="166877"/>
                    <a:pt x="0" y="148258"/>
                    <a:pt x="4870" y="128777"/>
                  </a:cubicBezTo>
                  <a:cubicBezTo>
                    <a:pt x="8683" y="113526"/>
                    <a:pt x="26488" y="38165"/>
                    <a:pt x="33445" y="33527"/>
                  </a:cubicBezTo>
                  <a:lnTo>
                    <a:pt x="62020" y="14477"/>
                  </a:lnTo>
                  <a:cubicBezTo>
                    <a:pt x="143776" y="41729"/>
                    <a:pt x="13638" y="0"/>
                    <a:pt x="147745" y="33527"/>
                  </a:cubicBezTo>
                  <a:cubicBezTo>
                    <a:pt x="167226" y="38397"/>
                    <a:pt x="204895" y="52577"/>
                    <a:pt x="204895" y="52577"/>
                  </a:cubicBezTo>
                  <a:cubicBezTo>
                    <a:pt x="214420" y="49402"/>
                    <a:pt x="223566" y="41401"/>
                    <a:pt x="233470" y="43052"/>
                  </a:cubicBezTo>
                  <a:cubicBezTo>
                    <a:pt x="244762" y="44934"/>
                    <a:pt x="251806" y="56982"/>
                    <a:pt x="262045" y="62102"/>
                  </a:cubicBezTo>
                  <a:cubicBezTo>
                    <a:pt x="271025" y="66592"/>
                    <a:pt x="281095" y="68452"/>
                    <a:pt x="290620" y="71627"/>
                  </a:cubicBezTo>
                  <a:cubicBezTo>
                    <a:pt x="386652" y="39616"/>
                    <a:pt x="237694" y="88457"/>
                    <a:pt x="357295" y="52577"/>
                  </a:cubicBezTo>
                  <a:cubicBezTo>
                    <a:pt x="376529" y="46807"/>
                    <a:pt x="397737" y="44666"/>
                    <a:pt x="414445" y="33527"/>
                  </a:cubicBezTo>
                  <a:lnTo>
                    <a:pt x="443020" y="14477"/>
                  </a:lnTo>
                  <a:cubicBezTo>
                    <a:pt x="452545" y="17652"/>
                    <a:pt x="461941" y="21244"/>
                    <a:pt x="471595" y="24002"/>
                  </a:cubicBezTo>
                  <a:cubicBezTo>
                    <a:pt x="484182" y="27598"/>
                    <a:pt x="500438" y="24270"/>
                    <a:pt x="509695" y="33527"/>
                  </a:cubicBezTo>
                  <a:cubicBezTo>
                    <a:pt x="518952" y="42784"/>
                    <a:pt x="511958" y="60735"/>
                    <a:pt x="519220" y="71627"/>
                  </a:cubicBezTo>
                  <a:cubicBezTo>
                    <a:pt x="534729" y="94890"/>
                    <a:pt x="589162" y="99205"/>
                    <a:pt x="604945" y="109727"/>
                  </a:cubicBezTo>
                  <a:lnTo>
                    <a:pt x="633520" y="128777"/>
                  </a:lnTo>
                  <a:cubicBezTo>
                    <a:pt x="630345" y="138302"/>
                    <a:pt x="626753" y="147698"/>
                    <a:pt x="623995" y="157352"/>
                  </a:cubicBezTo>
                  <a:cubicBezTo>
                    <a:pt x="620399" y="169939"/>
                    <a:pt x="622648" y="185230"/>
                    <a:pt x="614470" y="195452"/>
                  </a:cubicBezTo>
                  <a:cubicBezTo>
                    <a:pt x="608198" y="203292"/>
                    <a:pt x="595420" y="201802"/>
                    <a:pt x="585895" y="204977"/>
                  </a:cubicBezTo>
                  <a:cubicBezTo>
                    <a:pt x="553060" y="194032"/>
                    <a:pt x="573195" y="184340"/>
                    <a:pt x="566845" y="185927"/>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27" name="Freeform 24"/>
            <p:cNvSpPr>
              <a:spLocks noChangeArrowheads="1"/>
            </p:cNvSpPr>
            <p:nvPr/>
          </p:nvSpPr>
          <p:spPr bwMode="auto">
            <a:xfrm>
              <a:off x="4931031" y="5656118"/>
              <a:ext cx="1064542" cy="771506"/>
            </a:xfrm>
            <a:custGeom>
              <a:avLst/>
              <a:gdLst>
                <a:gd name="T0" fmla="*/ 0 w 1404964"/>
                <a:gd name="T1" fmla="*/ 0 h 990600"/>
                <a:gd name="T2" fmla="*/ 1404964 w 1404964"/>
                <a:gd name="T3" fmla="*/ 990600 h 990600"/>
              </a:gdLst>
              <a:ahLst/>
              <a:cxnLst/>
              <a:rect l="T0" t="T1" r="T2" b="T3"/>
              <a:pathLst>
                <a:path w="1404964" h="990600">
                  <a:moveTo>
                    <a:pt x="87339" y="571500"/>
                  </a:moveTo>
                  <a:cubicBezTo>
                    <a:pt x="79402" y="571500"/>
                    <a:pt x="84914" y="550025"/>
                    <a:pt x="77814" y="542925"/>
                  </a:cubicBezTo>
                  <a:cubicBezTo>
                    <a:pt x="73259" y="538370"/>
                    <a:pt x="11469" y="523957"/>
                    <a:pt x="11139" y="523875"/>
                  </a:cubicBezTo>
                  <a:cubicBezTo>
                    <a:pt x="35080" y="452051"/>
                    <a:pt x="0" y="537798"/>
                    <a:pt x="49239" y="476250"/>
                  </a:cubicBezTo>
                  <a:cubicBezTo>
                    <a:pt x="55511" y="468410"/>
                    <a:pt x="55589" y="457200"/>
                    <a:pt x="58764" y="447675"/>
                  </a:cubicBezTo>
                  <a:cubicBezTo>
                    <a:pt x="52414" y="438150"/>
                    <a:pt x="37231" y="430275"/>
                    <a:pt x="39714" y="419100"/>
                  </a:cubicBezTo>
                  <a:cubicBezTo>
                    <a:pt x="55522" y="347964"/>
                    <a:pt x="83071" y="363957"/>
                    <a:pt x="134964" y="352425"/>
                  </a:cubicBezTo>
                  <a:cubicBezTo>
                    <a:pt x="144765" y="350247"/>
                    <a:pt x="154014" y="346075"/>
                    <a:pt x="163539" y="342900"/>
                  </a:cubicBezTo>
                  <a:cubicBezTo>
                    <a:pt x="173064" y="346075"/>
                    <a:pt x="183134" y="347935"/>
                    <a:pt x="192114" y="352425"/>
                  </a:cubicBezTo>
                  <a:cubicBezTo>
                    <a:pt x="202353" y="357545"/>
                    <a:pt x="209241" y="371475"/>
                    <a:pt x="220689" y="371475"/>
                  </a:cubicBezTo>
                  <a:cubicBezTo>
                    <a:pt x="240769" y="371475"/>
                    <a:pt x="277839" y="352425"/>
                    <a:pt x="277839" y="352425"/>
                  </a:cubicBezTo>
                  <a:cubicBezTo>
                    <a:pt x="300064" y="355600"/>
                    <a:pt x="322499" y="357547"/>
                    <a:pt x="344514" y="361950"/>
                  </a:cubicBezTo>
                  <a:cubicBezTo>
                    <a:pt x="354359" y="363919"/>
                    <a:pt x="363110" y="372584"/>
                    <a:pt x="373089" y="371475"/>
                  </a:cubicBezTo>
                  <a:cubicBezTo>
                    <a:pt x="393047" y="369257"/>
                    <a:pt x="411189" y="358775"/>
                    <a:pt x="430239" y="352425"/>
                  </a:cubicBezTo>
                  <a:lnTo>
                    <a:pt x="458814" y="342900"/>
                  </a:lnTo>
                  <a:cubicBezTo>
                    <a:pt x="477864" y="349250"/>
                    <a:pt x="499256" y="373089"/>
                    <a:pt x="515964" y="361950"/>
                  </a:cubicBezTo>
                  <a:cubicBezTo>
                    <a:pt x="525489" y="355600"/>
                    <a:pt x="534300" y="348020"/>
                    <a:pt x="544539" y="342900"/>
                  </a:cubicBezTo>
                  <a:cubicBezTo>
                    <a:pt x="564065" y="333137"/>
                    <a:pt x="602625" y="327473"/>
                    <a:pt x="620739" y="323850"/>
                  </a:cubicBezTo>
                  <a:cubicBezTo>
                    <a:pt x="642964" y="327025"/>
                    <a:pt x="664963" y="333375"/>
                    <a:pt x="687414" y="333375"/>
                  </a:cubicBezTo>
                  <a:cubicBezTo>
                    <a:pt x="697454" y="333375"/>
                    <a:pt x="705949" y="323850"/>
                    <a:pt x="715989" y="323850"/>
                  </a:cubicBezTo>
                  <a:cubicBezTo>
                    <a:pt x="739930" y="323850"/>
                    <a:pt x="753876" y="342793"/>
                    <a:pt x="773139" y="352425"/>
                  </a:cubicBezTo>
                  <a:cubicBezTo>
                    <a:pt x="782119" y="356915"/>
                    <a:pt x="792189" y="358775"/>
                    <a:pt x="801714" y="361950"/>
                  </a:cubicBezTo>
                  <a:cubicBezTo>
                    <a:pt x="820764" y="355600"/>
                    <a:pt x="842156" y="354039"/>
                    <a:pt x="858864" y="342900"/>
                  </a:cubicBezTo>
                  <a:lnTo>
                    <a:pt x="916014" y="304800"/>
                  </a:lnTo>
                  <a:cubicBezTo>
                    <a:pt x="922364" y="295275"/>
                    <a:pt x="926969" y="284320"/>
                    <a:pt x="935064" y="276225"/>
                  </a:cubicBezTo>
                  <a:cubicBezTo>
                    <a:pt x="943159" y="268130"/>
                    <a:pt x="957572" y="266883"/>
                    <a:pt x="963639" y="257175"/>
                  </a:cubicBezTo>
                  <a:cubicBezTo>
                    <a:pt x="974282" y="240147"/>
                    <a:pt x="976339" y="219075"/>
                    <a:pt x="982689" y="200025"/>
                  </a:cubicBezTo>
                  <a:cubicBezTo>
                    <a:pt x="985864" y="190500"/>
                    <a:pt x="982689" y="174625"/>
                    <a:pt x="992214" y="171450"/>
                  </a:cubicBezTo>
                  <a:cubicBezTo>
                    <a:pt x="1088246" y="139439"/>
                    <a:pt x="939288" y="188280"/>
                    <a:pt x="1058889" y="152400"/>
                  </a:cubicBezTo>
                  <a:lnTo>
                    <a:pt x="1144614" y="123825"/>
                  </a:lnTo>
                  <a:lnTo>
                    <a:pt x="1173189" y="114300"/>
                  </a:lnTo>
                  <a:cubicBezTo>
                    <a:pt x="1182714" y="111125"/>
                    <a:pt x="1193410" y="110344"/>
                    <a:pt x="1201764" y="104775"/>
                  </a:cubicBezTo>
                  <a:cubicBezTo>
                    <a:pt x="1211289" y="98425"/>
                    <a:pt x="1219878" y="90374"/>
                    <a:pt x="1230339" y="85725"/>
                  </a:cubicBezTo>
                  <a:cubicBezTo>
                    <a:pt x="1248689" y="77570"/>
                    <a:pt x="1287489" y="66675"/>
                    <a:pt x="1287489" y="66675"/>
                  </a:cubicBezTo>
                  <a:cubicBezTo>
                    <a:pt x="1301546" y="45590"/>
                    <a:pt x="1313112" y="24193"/>
                    <a:pt x="1335114" y="9525"/>
                  </a:cubicBezTo>
                  <a:cubicBezTo>
                    <a:pt x="1343468" y="3956"/>
                    <a:pt x="1354164" y="3175"/>
                    <a:pt x="1363689" y="0"/>
                  </a:cubicBezTo>
                  <a:cubicBezTo>
                    <a:pt x="1373214" y="3175"/>
                    <a:pt x="1385164" y="2425"/>
                    <a:pt x="1392264" y="9525"/>
                  </a:cubicBezTo>
                  <a:cubicBezTo>
                    <a:pt x="1404964" y="22225"/>
                    <a:pt x="1404964" y="53975"/>
                    <a:pt x="1392264" y="66675"/>
                  </a:cubicBezTo>
                  <a:cubicBezTo>
                    <a:pt x="1385164" y="73775"/>
                    <a:pt x="1373214" y="73025"/>
                    <a:pt x="1363689" y="76200"/>
                  </a:cubicBezTo>
                  <a:cubicBezTo>
                    <a:pt x="1360514" y="85725"/>
                    <a:pt x="1353055" y="94796"/>
                    <a:pt x="1354164" y="104775"/>
                  </a:cubicBezTo>
                  <a:cubicBezTo>
                    <a:pt x="1356382" y="124733"/>
                    <a:pt x="1373214" y="161925"/>
                    <a:pt x="1373214" y="161925"/>
                  </a:cubicBezTo>
                  <a:cubicBezTo>
                    <a:pt x="1341464" y="209550"/>
                    <a:pt x="1363689" y="184150"/>
                    <a:pt x="1297014" y="228600"/>
                  </a:cubicBezTo>
                  <a:lnTo>
                    <a:pt x="1268439" y="247650"/>
                  </a:lnTo>
                  <a:cubicBezTo>
                    <a:pt x="1265264" y="257175"/>
                    <a:pt x="1265186" y="268385"/>
                    <a:pt x="1258914" y="276225"/>
                  </a:cubicBezTo>
                  <a:cubicBezTo>
                    <a:pt x="1240716" y="298973"/>
                    <a:pt x="1224771" y="293296"/>
                    <a:pt x="1201764" y="304800"/>
                  </a:cubicBezTo>
                  <a:cubicBezTo>
                    <a:pt x="1191525" y="309920"/>
                    <a:pt x="1183650" y="319201"/>
                    <a:pt x="1173189" y="323850"/>
                  </a:cubicBezTo>
                  <a:cubicBezTo>
                    <a:pt x="1154839" y="332005"/>
                    <a:pt x="1132747" y="331761"/>
                    <a:pt x="1116039" y="342900"/>
                  </a:cubicBezTo>
                  <a:cubicBezTo>
                    <a:pt x="1034147" y="397495"/>
                    <a:pt x="1137759" y="332040"/>
                    <a:pt x="1058889" y="371475"/>
                  </a:cubicBezTo>
                  <a:cubicBezTo>
                    <a:pt x="1048650" y="376595"/>
                    <a:pt x="1039839" y="384175"/>
                    <a:pt x="1030314" y="390525"/>
                  </a:cubicBezTo>
                  <a:cubicBezTo>
                    <a:pt x="1017614" y="409575"/>
                    <a:pt x="1008403" y="431486"/>
                    <a:pt x="992214" y="447675"/>
                  </a:cubicBezTo>
                  <a:cubicBezTo>
                    <a:pt x="971148" y="468741"/>
                    <a:pt x="957850" y="478303"/>
                    <a:pt x="944589" y="504825"/>
                  </a:cubicBezTo>
                  <a:cubicBezTo>
                    <a:pt x="940099" y="513805"/>
                    <a:pt x="939554" y="524420"/>
                    <a:pt x="935064" y="533400"/>
                  </a:cubicBezTo>
                  <a:cubicBezTo>
                    <a:pt x="929944" y="543639"/>
                    <a:pt x="921134" y="551736"/>
                    <a:pt x="916014" y="561975"/>
                  </a:cubicBezTo>
                  <a:cubicBezTo>
                    <a:pt x="911524" y="570955"/>
                    <a:pt x="911365" y="581773"/>
                    <a:pt x="906489" y="590550"/>
                  </a:cubicBezTo>
                  <a:cubicBezTo>
                    <a:pt x="851902" y="688806"/>
                    <a:pt x="880417" y="611617"/>
                    <a:pt x="858864" y="676275"/>
                  </a:cubicBezTo>
                  <a:cubicBezTo>
                    <a:pt x="862039" y="685800"/>
                    <a:pt x="868389" y="694810"/>
                    <a:pt x="868389" y="704850"/>
                  </a:cubicBezTo>
                  <a:cubicBezTo>
                    <a:pt x="868389" y="735522"/>
                    <a:pt x="852230" y="737847"/>
                    <a:pt x="830289" y="752475"/>
                  </a:cubicBezTo>
                  <a:cubicBezTo>
                    <a:pt x="795551" y="856688"/>
                    <a:pt x="850953" y="698838"/>
                    <a:pt x="801714" y="809625"/>
                  </a:cubicBezTo>
                  <a:cubicBezTo>
                    <a:pt x="793559" y="827975"/>
                    <a:pt x="789014" y="847725"/>
                    <a:pt x="782664" y="866775"/>
                  </a:cubicBezTo>
                  <a:cubicBezTo>
                    <a:pt x="779489" y="876300"/>
                    <a:pt x="781493" y="889781"/>
                    <a:pt x="773139" y="895350"/>
                  </a:cubicBezTo>
                  <a:lnTo>
                    <a:pt x="744564" y="914400"/>
                  </a:lnTo>
                  <a:cubicBezTo>
                    <a:pt x="709365" y="967198"/>
                    <a:pt x="745653" y="925437"/>
                    <a:pt x="696939" y="952500"/>
                  </a:cubicBezTo>
                  <a:cubicBezTo>
                    <a:pt x="676925" y="963619"/>
                    <a:pt x="639789" y="990600"/>
                    <a:pt x="639789" y="990600"/>
                  </a:cubicBezTo>
                  <a:cubicBezTo>
                    <a:pt x="633439" y="981075"/>
                    <a:pt x="625248" y="972547"/>
                    <a:pt x="620739" y="962025"/>
                  </a:cubicBezTo>
                  <a:cubicBezTo>
                    <a:pt x="594407" y="900584"/>
                    <a:pt x="630506" y="943217"/>
                    <a:pt x="592164" y="904875"/>
                  </a:cubicBezTo>
                  <a:cubicBezTo>
                    <a:pt x="595339" y="889000"/>
                    <a:pt x="596005" y="872409"/>
                    <a:pt x="601689" y="857250"/>
                  </a:cubicBezTo>
                  <a:cubicBezTo>
                    <a:pt x="605709" y="846531"/>
                    <a:pt x="618857" y="839967"/>
                    <a:pt x="620739" y="828675"/>
                  </a:cubicBezTo>
                  <a:cubicBezTo>
                    <a:pt x="623368" y="812901"/>
                    <a:pt x="598798" y="781476"/>
                    <a:pt x="592164" y="771525"/>
                  </a:cubicBezTo>
                  <a:cubicBezTo>
                    <a:pt x="595339" y="755650"/>
                    <a:pt x="593657" y="737956"/>
                    <a:pt x="601689" y="723900"/>
                  </a:cubicBezTo>
                  <a:cubicBezTo>
                    <a:pt x="610378" y="708694"/>
                    <a:pt x="644172" y="700214"/>
                    <a:pt x="658839" y="695325"/>
                  </a:cubicBezTo>
                  <a:cubicBezTo>
                    <a:pt x="665189" y="685800"/>
                    <a:pt x="677889" y="678198"/>
                    <a:pt x="677889" y="666750"/>
                  </a:cubicBezTo>
                  <a:cubicBezTo>
                    <a:pt x="677889" y="634637"/>
                    <a:pt x="648107" y="637571"/>
                    <a:pt x="630264" y="628650"/>
                  </a:cubicBezTo>
                  <a:cubicBezTo>
                    <a:pt x="620025" y="623530"/>
                    <a:pt x="611214" y="615950"/>
                    <a:pt x="601689" y="609600"/>
                  </a:cubicBezTo>
                  <a:cubicBezTo>
                    <a:pt x="595339" y="600075"/>
                    <a:pt x="587759" y="591264"/>
                    <a:pt x="582639" y="581025"/>
                  </a:cubicBezTo>
                  <a:cubicBezTo>
                    <a:pt x="578149" y="572045"/>
                    <a:pt x="580214" y="559550"/>
                    <a:pt x="573114" y="552450"/>
                  </a:cubicBezTo>
                  <a:cubicBezTo>
                    <a:pt x="566014" y="545350"/>
                    <a:pt x="554064" y="546100"/>
                    <a:pt x="544539" y="542925"/>
                  </a:cubicBezTo>
                  <a:cubicBezTo>
                    <a:pt x="457836" y="571826"/>
                    <a:pt x="594774" y="527493"/>
                    <a:pt x="468339" y="561975"/>
                  </a:cubicBezTo>
                  <a:cubicBezTo>
                    <a:pt x="448966" y="567259"/>
                    <a:pt x="430670" y="576155"/>
                    <a:pt x="411189" y="581025"/>
                  </a:cubicBezTo>
                  <a:lnTo>
                    <a:pt x="373089" y="590550"/>
                  </a:lnTo>
                  <a:lnTo>
                    <a:pt x="325464" y="581025"/>
                  </a:lnTo>
                  <a:cubicBezTo>
                    <a:pt x="306463" y="577570"/>
                    <a:pt x="287167" y="575690"/>
                    <a:pt x="268314" y="571500"/>
                  </a:cubicBezTo>
                  <a:cubicBezTo>
                    <a:pt x="258513" y="569322"/>
                    <a:pt x="249264" y="565150"/>
                    <a:pt x="239739" y="561975"/>
                  </a:cubicBezTo>
                  <a:cubicBezTo>
                    <a:pt x="192114" y="577850"/>
                    <a:pt x="220689" y="574675"/>
                    <a:pt x="154014" y="552450"/>
                  </a:cubicBezTo>
                  <a:lnTo>
                    <a:pt x="125439" y="542925"/>
                  </a:lnTo>
                  <a:cubicBezTo>
                    <a:pt x="90840" y="554458"/>
                    <a:pt x="95276" y="571500"/>
                    <a:pt x="87339" y="571500"/>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28" name="Freeform 25"/>
            <p:cNvSpPr>
              <a:spLocks noChangeArrowheads="1"/>
            </p:cNvSpPr>
            <p:nvPr/>
          </p:nvSpPr>
          <p:spPr bwMode="auto">
            <a:xfrm>
              <a:off x="4680545" y="5870424"/>
              <a:ext cx="314786" cy="198582"/>
            </a:xfrm>
            <a:custGeom>
              <a:avLst/>
              <a:gdLst>
                <a:gd name="T0" fmla="*/ 0 w 392557"/>
                <a:gd name="T1" fmla="*/ 0 h 255387"/>
                <a:gd name="T2" fmla="*/ 0 w 392557"/>
                <a:gd name="T3" fmla="*/ 0 h 255387"/>
                <a:gd name="T4" fmla="*/ 0 w 392557"/>
                <a:gd name="T5" fmla="*/ 0 h 255387"/>
                <a:gd name="T6" fmla="*/ 0 w 392557"/>
                <a:gd name="T7" fmla="*/ 0 h 255387"/>
                <a:gd name="T8" fmla="*/ 0 w 392557"/>
                <a:gd name="T9" fmla="*/ 0 h 255387"/>
                <a:gd name="T10" fmla="*/ 0 w 392557"/>
                <a:gd name="T11" fmla="*/ 0 h 255387"/>
                <a:gd name="T12" fmla="*/ 0 w 392557"/>
                <a:gd name="T13" fmla="*/ 0 h 255387"/>
                <a:gd name="T14" fmla="*/ 0 w 392557"/>
                <a:gd name="T15" fmla="*/ 0 h 255387"/>
                <a:gd name="T16" fmla="*/ 0 w 392557"/>
                <a:gd name="T17" fmla="*/ 0 h 255387"/>
                <a:gd name="T18" fmla="*/ 0 w 392557"/>
                <a:gd name="T19" fmla="*/ 0 h 255387"/>
                <a:gd name="T20" fmla="*/ 0 w 392557"/>
                <a:gd name="T21" fmla="*/ 0 h 255387"/>
                <a:gd name="T22" fmla="*/ 0 w 392557"/>
                <a:gd name="T23" fmla="*/ 0 h 255387"/>
                <a:gd name="T24" fmla="*/ 0 w 392557"/>
                <a:gd name="T25" fmla="*/ 0 h 255387"/>
                <a:gd name="T26" fmla="*/ 0 w 392557"/>
                <a:gd name="T27" fmla="*/ 0 h 255387"/>
                <a:gd name="T28" fmla="*/ 0 w 392557"/>
                <a:gd name="T29" fmla="*/ 0 h 255387"/>
                <a:gd name="T30" fmla="*/ 0 w 392557"/>
                <a:gd name="T31" fmla="*/ 0 h 255387"/>
                <a:gd name="T32" fmla="*/ 0 w 392557"/>
                <a:gd name="T33" fmla="*/ 0 h 255387"/>
                <a:gd name="T34" fmla="*/ 0 w 392557"/>
                <a:gd name="T35" fmla="*/ 0 h 255387"/>
                <a:gd name="T36" fmla="*/ 0 w 392557"/>
                <a:gd name="T37" fmla="*/ 0 h 255387"/>
                <a:gd name="T38" fmla="*/ 0 w 392557"/>
                <a:gd name="T39" fmla="*/ 0 h 255387"/>
                <a:gd name="T40" fmla="*/ 0 w 392557"/>
                <a:gd name="T41" fmla="*/ 0 h 25538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92557"/>
                <a:gd name="T64" fmla="*/ 0 h 255387"/>
                <a:gd name="T65" fmla="*/ 392557 w 392557"/>
                <a:gd name="T66" fmla="*/ 255387 h 25538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92557" h="255387">
                  <a:moveTo>
                    <a:pt x="381566" y="85854"/>
                  </a:moveTo>
                  <a:cubicBezTo>
                    <a:pt x="387916" y="93791"/>
                    <a:pt x="392557" y="117356"/>
                    <a:pt x="391091" y="133479"/>
                  </a:cubicBezTo>
                  <a:cubicBezTo>
                    <a:pt x="385972" y="189788"/>
                    <a:pt x="378743" y="186161"/>
                    <a:pt x="343466" y="209679"/>
                  </a:cubicBezTo>
                  <a:cubicBezTo>
                    <a:pt x="340291" y="222379"/>
                    <a:pt x="345973" y="242622"/>
                    <a:pt x="333941" y="247779"/>
                  </a:cubicBezTo>
                  <a:cubicBezTo>
                    <a:pt x="316190" y="255387"/>
                    <a:pt x="295527" y="242938"/>
                    <a:pt x="276791" y="238254"/>
                  </a:cubicBezTo>
                  <a:cubicBezTo>
                    <a:pt x="257310" y="233384"/>
                    <a:pt x="238691" y="225554"/>
                    <a:pt x="219641" y="219204"/>
                  </a:cubicBezTo>
                  <a:cubicBezTo>
                    <a:pt x="210116" y="216029"/>
                    <a:pt x="199420" y="215248"/>
                    <a:pt x="191066" y="209679"/>
                  </a:cubicBezTo>
                  <a:lnTo>
                    <a:pt x="133916" y="171579"/>
                  </a:lnTo>
                  <a:cubicBezTo>
                    <a:pt x="124391" y="174754"/>
                    <a:pt x="114321" y="176614"/>
                    <a:pt x="105341" y="181104"/>
                  </a:cubicBezTo>
                  <a:cubicBezTo>
                    <a:pt x="95102" y="186224"/>
                    <a:pt x="88214" y="200154"/>
                    <a:pt x="76766" y="200154"/>
                  </a:cubicBezTo>
                  <a:cubicBezTo>
                    <a:pt x="65318" y="200154"/>
                    <a:pt x="57716" y="187454"/>
                    <a:pt x="48191" y="181104"/>
                  </a:cubicBezTo>
                  <a:cubicBezTo>
                    <a:pt x="41841" y="171579"/>
                    <a:pt x="31023" y="163821"/>
                    <a:pt x="29141" y="152529"/>
                  </a:cubicBezTo>
                  <a:cubicBezTo>
                    <a:pt x="27490" y="142625"/>
                    <a:pt x="38666" y="133994"/>
                    <a:pt x="38666" y="123954"/>
                  </a:cubicBezTo>
                  <a:cubicBezTo>
                    <a:pt x="38666" y="71522"/>
                    <a:pt x="0" y="78310"/>
                    <a:pt x="19616" y="9654"/>
                  </a:cubicBezTo>
                  <a:cubicBezTo>
                    <a:pt x="22374" y="0"/>
                    <a:pt x="38666" y="16004"/>
                    <a:pt x="48191" y="19179"/>
                  </a:cubicBezTo>
                  <a:cubicBezTo>
                    <a:pt x="79294" y="8811"/>
                    <a:pt x="87610" y="789"/>
                    <a:pt x="124391" y="19179"/>
                  </a:cubicBezTo>
                  <a:cubicBezTo>
                    <a:pt x="136439" y="25203"/>
                    <a:pt x="141758" y="40282"/>
                    <a:pt x="152966" y="47754"/>
                  </a:cubicBezTo>
                  <a:cubicBezTo>
                    <a:pt x="161320" y="53323"/>
                    <a:pt x="172561" y="52789"/>
                    <a:pt x="181541" y="57279"/>
                  </a:cubicBezTo>
                  <a:cubicBezTo>
                    <a:pt x="255399" y="94208"/>
                    <a:pt x="166867" y="61913"/>
                    <a:pt x="238691" y="85854"/>
                  </a:cubicBezTo>
                  <a:cubicBezTo>
                    <a:pt x="314891" y="60454"/>
                    <a:pt x="276791" y="60454"/>
                    <a:pt x="352991" y="85854"/>
                  </a:cubicBezTo>
                  <a:cubicBezTo>
                    <a:pt x="384578" y="96383"/>
                    <a:pt x="375216" y="77917"/>
                    <a:pt x="381566" y="85854"/>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29" name="Freeform 26"/>
            <p:cNvSpPr>
              <a:spLocks noChangeArrowheads="1"/>
            </p:cNvSpPr>
            <p:nvPr/>
          </p:nvSpPr>
          <p:spPr bwMode="auto">
            <a:xfrm>
              <a:off x="3930789" y="5813278"/>
              <a:ext cx="828772" cy="550054"/>
            </a:xfrm>
            <a:custGeom>
              <a:avLst/>
              <a:gdLst>
                <a:gd name="T0" fmla="*/ 0 w 1074712"/>
                <a:gd name="T1" fmla="*/ 0 h 752475"/>
                <a:gd name="T2" fmla="*/ 1074712 w 1074712"/>
                <a:gd name="T3" fmla="*/ 752475 h 752475"/>
              </a:gdLst>
              <a:ahLst/>
              <a:cxnLst/>
              <a:rect l="T0" t="T1" r="T2" b="T3"/>
              <a:pathLst>
                <a:path w="1074712" h="752475">
                  <a:moveTo>
                    <a:pt x="641476" y="733425"/>
                  </a:moveTo>
                  <a:cubicBezTo>
                    <a:pt x="627189" y="730250"/>
                    <a:pt x="594044" y="720399"/>
                    <a:pt x="584326" y="704850"/>
                  </a:cubicBezTo>
                  <a:cubicBezTo>
                    <a:pt x="537088" y="629269"/>
                    <a:pt x="600435" y="656490"/>
                    <a:pt x="527176" y="638175"/>
                  </a:cubicBezTo>
                  <a:cubicBezTo>
                    <a:pt x="517651" y="641350"/>
                    <a:pt x="505701" y="640600"/>
                    <a:pt x="498601" y="647700"/>
                  </a:cubicBezTo>
                  <a:cubicBezTo>
                    <a:pt x="449375" y="696926"/>
                    <a:pt x="543725" y="658615"/>
                    <a:pt x="460501" y="704850"/>
                  </a:cubicBezTo>
                  <a:cubicBezTo>
                    <a:pt x="442948" y="714602"/>
                    <a:pt x="422401" y="717550"/>
                    <a:pt x="403351" y="723900"/>
                  </a:cubicBezTo>
                  <a:lnTo>
                    <a:pt x="374776" y="733425"/>
                  </a:lnTo>
                  <a:lnTo>
                    <a:pt x="346201" y="742950"/>
                  </a:lnTo>
                  <a:cubicBezTo>
                    <a:pt x="333501" y="739775"/>
                    <a:pt x="320688" y="737021"/>
                    <a:pt x="308101" y="733425"/>
                  </a:cubicBezTo>
                  <a:cubicBezTo>
                    <a:pt x="298447" y="730667"/>
                    <a:pt x="289430" y="722249"/>
                    <a:pt x="279526" y="723900"/>
                  </a:cubicBezTo>
                  <a:cubicBezTo>
                    <a:pt x="268234" y="725782"/>
                    <a:pt x="261190" y="737830"/>
                    <a:pt x="250951" y="742950"/>
                  </a:cubicBezTo>
                  <a:cubicBezTo>
                    <a:pt x="241971" y="747440"/>
                    <a:pt x="231901" y="749300"/>
                    <a:pt x="222376" y="752475"/>
                  </a:cubicBezTo>
                  <a:cubicBezTo>
                    <a:pt x="211264" y="735806"/>
                    <a:pt x="198564" y="708819"/>
                    <a:pt x="174751" y="704850"/>
                  </a:cubicBezTo>
                  <a:cubicBezTo>
                    <a:pt x="164847" y="703199"/>
                    <a:pt x="155701" y="711200"/>
                    <a:pt x="146176" y="714375"/>
                  </a:cubicBezTo>
                  <a:cubicBezTo>
                    <a:pt x="136651" y="708025"/>
                    <a:pt x="129049" y="695325"/>
                    <a:pt x="117601" y="695325"/>
                  </a:cubicBezTo>
                  <a:cubicBezTo>
                    <a:pt x="97521" y="695325"/>
                    <a:pt x="60451" y="714375"/>
                    <a:pt x="60451" y="714375"/>
                  </a:cubicBezTo>
                  <a:cubicBezTo>
                    <a:pt x="50926" y="711200"/>
                    <a:pt x="38976" y="711950"/>
                    <a:pt x="31876" y="704850"/>
                  </a:cubicBezTo>
                  <a:cubicBezTo>
                    <a:pt x="24776" y="697750"/>
                    <a:pt x="24529" y="686076"/>
                    <a:pt x="22351" y="676275"/>
                  </a:cubicBezTo>
                  <a:cubicBezTo>
                    <a:pt x="0" y="575695"/>
                    <a:pt x="24743" y="654876"/>
                    <a:pt x="3301" y="590550"/>
                  </a:cubicBezTo>
                  <a:cubicBezTo>
                    <a:pt x="11048" y="567309"/>
                    <a:pt x="13412" y="551864"/>
                    <a:pt x="31876" y="533400"/>
                  </a:cubicBezTo>
                  <a:cubicBezTo>
                    <a:pt x="39971" y="525305"/>
                    <a:pt x="50926" y="520700"/>
                    <a:pt x="60451" y="514350"/>
                  </a:cubicBezTo>
                  <a:cubicBezTo>
                    <a:pt x="63626" y="504825"/>
                    <a:pt x="64407" y="494129"/>
                    <a:pt x="69976" y="485775"/>
                  </a:cubicBezTo>
                  <a:cubicBezTo>
                    <a:pt x="79421" y="471608"/>
                    <a:pt x="110480" y="445548"/>
                    <a:pt x="127126" y="438150"/>
                  </a:cubicBezTo>
                  <a:cubicBezTo>
                    <a:pt x="145476" y="429995"/>
                    <a:pt x="167568" y="430239"/>
                    <a:pt x="184276" y="419100"/>
                  </a:cubicBezTo>
                  <a:lnTo>
                    <a:pt x="241426" y="381000"/>
                  </a:lnTo>
                  <a:cubicBezTo>
                    <a:pt x="238251" y="371475"/>
                    <a:pt x="240618" y="357406"/>
                    <a:pt x="231901" y="352425"/>
                  </a:cubicBezTo>
                  <a:cubicBezTo>
                    <a:pt x="215133" y="342843"/>
                    <a:pt x="193073" y="349007"/>
                    <a:pt x="174751" y="342900"/>
                  </a:cubicBezTo>
                  <a:cubicBezTo>
                    <a:pt x="163891" y="339280"/>
                    <a:pt x="155701" y="330200"/>
                    <a:pt x="146176" y="323850"/>
                  </a:cubicBezTo>
                  <a:cubicBezTo>
                    <a:pt x="139826" y="314325"/>
                    <a:pt x="131146" y="305994"/>
                    <a:pt x="127126" y="295275"/>
                  </a:cubicBezTo>
                  <a:cubicBezTo>
                    <a:pt x="110823" y="251801"/>
                    <a:pt x="125703" y="254329"/>
                    <a:pt x="108076" y="219075"/>
                  </a:cubicBezTo>
                  <a:cubicBezTo>
                    <a:pt x="102956" y="208836"/>
                    <a:pt x="95376" y="200025"/>
                    <a:pt x="89026" y="190500"/>
                  </a:cubicBezTo>
                  <a:lnTo>
                    <a:pt x="108076" y="133350"/>
                  </a:lnTo>
                  <a:cubicBezTo>
                    <a:pt x="111251" y="123825"/>
                    <a:pt x="115632" y="114620"/>
                    <a:pt x="117601" y="104775"/>
                  </a:cubicBezTo>
                  <a:lnTo>
                    <a:pt x="127126" y="57150"/>
                  </a:lnTo>
                  <a:cubicBezTo>
                    <a:pt x="122347" y="38033"/>
                    <a:pt x="100131" y="0"/>
                    <a:pt x="146176" y="0"/>
                  </a:cubicBezTo>
                  <a:cubicBezTo>
                    <a:pt x="157624" y="0"/>
                    <a:pt x="164290" y="14401"/>
                    <a:pt x="174751" y="19050"/>
                  </a:cubicBezTo>
                  <a:cubicBezTo>
                    <a:pt x="193101" y="27205"/>
                    <a:pt x="231901" y="38100"/>
                    <a:pt x="231901" y="38100"/>
                  </a:cubicBezTo>
                  <a:cubicBezTo>
                    <a:pt x="238251" y="47625"/>
                    <a:pt x="245831" y="56436"/>
                    <a:pt x="250951" y="66675"/>
                  </a:cubicBezTo>
                  <a:cubicBezTo>
                    <a:pt x="263785" y="92342"/>
                    <a:pt x="255262" y="102594"/>
                    <a:pt x="279526" y="123825"/>
                  </a:cubicBezTo>
                  <a:cubicBezTo>
                    <a:pt x="319836" y="159096"/>
                    <a:pt x="326004" y="158368"/>
                    <a:pt x="365251" y="171450"/>
                  </a:cubicBezTo>
                  <a:cubicBezTo>
                    <a:pt x="431926" y="149225"/>
                    <a:pt x="403351" y="146050"/>
                    <a:pt x="450976" y="161925"/>
                  </a:cubicBezTo>
                  <a:cubicBezTo>
                    <a:pt x="457326" y="171450"/>
                    <a:pt x="461931" y="182405"/>
                    <a:pt x="470026" y="190500"/>
                  </a:cubicBezTo>
                  <a:cubicBezTo>
                    <a:pt x="488490" y="208964"/>
                    <a:pt x="503935" y="211328"/>
                    <a:pt x="527176" y="219075"/>
                  </a:cubicBezTo>
                  <a:cubicBezTo>
                    <a:pt x="583135" y="200422"/>
                    <a:pt x="529557" y="211931"/>
                    <a:pt x="612901" y="228600"/>
                  </a:cubicBezTo>
                  <a:cubicBezTo>
                    <a:pt x="628776" y="231775"/>
                    <a:pt x="644907" y="233865"/>
                    <a:pt x="660526" y="238125"/>
                  </a:cubicBezTo>
                  <a:cubicBezTo>
                    <a:pt x="679899" y="243409"/>
                    <a:pt x="697718" y="254957"/>
                    <a:pt x="717676" y="257175"/>
                  </a:cubicBezTo>
                  <a:lnTo>
                    <a:pt x="803401" y="266700"/>
                  </a:lnTo>
                  <a:cubicBezTo>
                    <a:pt x="812926" y="263525"/>
                    <a:pt x="821936" y="257175"/>
                    <a:pt x="831976" y="257175"/>
                  </a:cubicBezTo>
                  <a:cubicBezTo>
                    <a:pt x="848165" y="257175"/>
                    <a:pt x="863600" y="264238"/>
                    <a:pt x="879601" y="266700"/>
                  </a:cubicBezTo>
                  <a:cubicBezTo>
                    <a:pt x="904901" y="270592"/>
                    <a:pt x="930401" y="273050"/>
                    <a:pt x="955801" y="276225"/>
                  </a:cubicBezTo>
                  <a:lnTo>
                    <a:pt x="1012951" y="257175"/>
                  </a:lnTo>
                  <a:lnTo>
                    <a:pt x="1041526" y="247650"/>
                  </a:lnTo>
                  <a:cubicBezTo>
                    <a:pt x="1054155" y="266594"/>
                    <a:pt x="1074712" y="281139"/>
                    <a:pt x="1051051" y="304800"/>
                  </a:cubicBezTo>
                  <a:cubicBezTo>
                    <a:pt x="1043951" y="311900"/>
                    <a:pt x="1032001" y="311150"/>
                    <a:pt x="1022476" y="314325"/>
                  </a:cubicBezTo>
                  <a:cubicBezTo>
                    <a:pt x="1001410" y="335391"/>
                    <a:pt x="988112" y="344953"/>
                    <a:pt x="974851" y="371475"/>
                  </a:cubicBezTo>
                  <a:cubicBezTo>
                    <a:pt x="970361" y="380455"/>
                    <a:pt x="968501" y="390525"/>
                    <a:pt x="965326" y="400050"/>
                  </a:cubicBezTo>
                  <a:cubicBezTo>
                    <a:pt x="968501" y="409575"/>
                    <a:pt x="974851" y="418585"/>
                    <a:pt x="974851" y="428625"/>
                  </a:cubicBezTo>
                  <a:cubicBezTo>
                    <a:pt x="974851" y="459297"/>
                    <a:pt x="958692" y="461622"/>
                    <a:pt x="936751" y="476250"/>
                  </a:cubicBezTo>
                  <a:cubicBezTo>
                    <a:pt x="930401" y="495300"/>
                    <a:pt x="937182" y="528530"/>
                    <a:pt x="917701" y="533400"/>
                  </a:cubicBezTo>
                  <a:cubicBezTo>
                    <a:pt x="905001" y="536575"/>
                    <a:pt x="892140" y="539163"/>
                    <a:pt x="879601" y="542925"/>
                  </a:cubicBezTo>
                  <a:cubicBezTo>
                    <a:pt x="860367" y="548695"/>
                    <a:pt x="822451" y="561975"/>
                    <a:pt x="822451" y="561975"/>
                  </a:cubicBezTo>
                  <a:lnTo>
                    <a:pt x="803401" y="619125"/>
                  </a:lnTo>
                  <a:cubicBezTo>
                    <a:pt x="795654" y="642366"/>
                    <a:pt x="793290" y="657811"/>
                    <a:pt x="774826" y="676275"/>
                  </a:cubicBezTo>
                  <a:cubicBezTo>
                    <a:pt x="756362" y="694739"/>
                    <a:pt x="740917" y="697103"/>
                    <a:pt x="717676" y="704850"/>
                  </a:cubicBezTo>
                  <a:cubicBezTo>
                    <a:pt x="708151" y="701675"/>
                    <a:pt x="698423" y="691596"/>
                    <a:pt x="689101" y="695325"/>
                  </a:cubicBezTo>
                  <a:cubicBezTo>
                    <a:pt x="678472" y="699577"/>
                    <a:pt x="678990" y="716749"/>
                    <a:pt x="670051" y="723900"/>
                  </a:cubicBezTo>
                  <a:cubicBezTo>
                    <a:pt x="647416" y="742008"/>
                    <a:pt x="655763" y="736600"/>
                    <a:pt x="641476" y="733425"/>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30" name="Freeform 27"/>
            <p:cNvSpPr>
              <a:spLocks noChangeArrowheads="1"/>
            </p:cNvSpPr>
            <p:nvPr/>
          </p:nvSpPr>
          <p:spPr bwMode="auto">
            <a:xfrm>
              <a:off x="3929393" y="6184742"/>
              <a:ext cx="730144" cy="600060"/>
            </a:xfrm>
            <a:custGeom>
              <a:avLst/>
              <a:gdLst>
                <a:gd name="T0" fmla="*/ 0 w 957614"/>
                <a:gd name="T1" fmla="*/ 0 h 776395"/>
                <a:gd name="T2" fmla="*/ 957614 w 957614"/>
                <a:gd name="T3" fmla="*/ 776395 h 776395"/>
              </a:gdLst>
              <a:ahLst/>
              <a:cxnLst/>
              <a:rect l="T0" t="T1" r="T2" b="T3"/>
              <a:pathLst>
                <a:path w="957614" h="776395">
                  <a:moveTo>
                    <a:pt x="544786" y="662095"/>
                  </a:moveTo>
                  <a:cubicBezTo>
                    <a:pt x="555967" y="695639"/>
                    <a:pt x="578245" y="730968"/>
                    <a:pt x="554311" y="766870"/>
                  </a:cubicBezTo>
                  <a:cubicBezTo>
                    <a:pt x="548742" y="775224"/>
                    <a:pt x="535261" y="773220"/>
                    <a:pt x="525736" y="776395"/>
                  </a:cubicBezTo>
                  <a:cubicBezTo>
                    <a:pt x="461410" y="754953"/>
                    <a:pt x="540591" y="776395"/>
                    <a:pt x="440011" y="776395"/>
                  </a:cubicBezTo>
                  <a:cubicBezTo>
                    <a:pt x="414413" y="776395"/>
                    <a:pt x="389211" y="770045"/>
                    <a:pt x="363811" y="766870"/>
                  </a:cubicBezTo>
                  <a:cubicBezTo>
                    <a:pt x="313644" y="750148"/>
                    <a:pt x="344761" y="771072"/>
                    <a:pt x="344761" y="719245"/>
                  </a:cubicBezTo>
                  <a:cubicBezTo>
                    <a:pt x="344761" y="709205"/>
                    <a:pt x="338411" y="700195"/>
                    <a:pt x="335236" y="690670"/>
                  </a:cubicBezTo>
                  <a:cubicBezTo>
                    <a:pt x="295109" y="700702"/>
                    <a:pt x="265531" y="709720"/>
                    <a:pt x="220936" y="709720"/>
                  </a:cubicBezTo>
                  <a:cubicBezTo>
                    <a:pt x="204747" y="709720"/>
                    <a:pt x="189186" y="703370"/>
                    <a:pt x="173311" y="700195"/>
                  </a:cubicBezTo>
                  <a:cubicBezTo>
                    <a:pt x="176486" y="687495"/>
                    <a:pt x="175574" y="672987"/>
                    <a:pt x="182836" y="662095"/>
                  </a:cubicBezTo>
                  <a:cubicBezTo>
                    <a:pt x="189186" y="652570"/>
                    <a:pt x="205344" y="652753"/>
                    <a:pt x="211411" y="643045"/>
                  </a:cubicBezTo>
                  <a:cubicBezTo>
                    <a:pt x="222054" y="626017"/>
                    <a:pt x="230461" y="585895"/>
                    <a:pt x="230461" y="585895"/>
                  </a:cubicBezTo>
                  <a:cubicBezTo>
                    <a:pt x="227286" y="576370"/>
                    <a:pt x="225812" y="566097"/>
                    <a:pt x="220936" y="557320"/>
                  </a:cubicBezTo>
                  <a:cubicBezTo>
                    <a:pt x="209817" y="537306"/>
                    <a:pt x="182836" y="500170"/>
                    <a:pt x="182836" y="500170"/>
                  </a:cubicBezTo>
                  <a:cubicBezTo>
                    <a:pt x="179661" y="487470"/>
                    <a:pt x="176907" y="474657"/>
                    <a:pt x="173311" y="462070"/>
                  </a:cubicBezTo>
                  <a:cubicBezTo>
                    <a:pt x="167113" y="440379"/>
                    <a:pt x="161434" y="421618"/>
                    <a:pt x="144736" y="404920"/>
                  </a:cubicBezTo>
                  <a:cubicBezTo>
                    <a:pt x="136641" y="396825"/>
                    <a:pt x="125686" y="392220"/>
                    <a:pt x="116161" y="385870"/>
                  </a:cubicBezTo>
                  <a:cubicBezTo>
                    <a:pt x="106730" y="357576"/>
                    <a:pt x="100702" y="322786"/>
                    <a:pt x="78061" y="300145"/>
                  </a:cubicBezTo>
                  <a:cubicBezTo>
                    <a:pt x="69966" y="292050"/>
                    <a:pt x="59725" y="286215"/>
                    <a:pt x="49486" y="281095"/>
                  </a:cubicBezTo>
                  <a:cubicBezTo>
                    <a:pt x="40506" y="276605"/>
                    <a:pt x="30436" y="274745"/>
                    <a:pt x="20911" y="271570"/>
                  </a:cubicBezTo>
                  <a:cubicBezTo>
                    <a:pt x="14561" y="262045"/>
                    <a:pt x="3743" y="254287"/>
                    <a:pt x="1861" y="242995"/>
                  </a:cubicBezTo>
                  <a:cubicBezTo>
                    <a:pt x="0" y="231832"/>
                    <a:pt x="22926" y="190539"/>
                    <a:pt x="30436" y="185845"/>
                  </a:cubicBezTo>
                  <a:cubicBezTo>
                    <a:pt x="47464" y="175202"/>
                    <a:pt x="87586" y="166795"/>
                    <a:pt x="87586" y="166795"/>
                  </a:cubicBezTo>
                  <a:cubicBezTo>
                    <a:pt x="97111" y="169970"/>
                    <a:pt x="107181" y="171830"/>
                    <a:pt x="116161" y="176320"/>
                  </a:cubicBezTo>
                  <a:cubicBezTo>
                    <a:pt x="126400" y="181440"/>
                    <a:pt x="133444" y="193488"/>
                    <a:pt x="144736" y="195370"/>
                  </a:cubicBezTo>
                  <a:cubicBezTo>
                    <a:pt x="154640" y="197021"/>
                    <a:pt x="163786" y="189020"/>
                    <a:pt x="173311" y="185845"/>
                  </a:cubicBezTo>
                  <a:cubicBezTo>
                    <a:pt x="186011" y="189020"/>
                    <a:pt x="199379" y="190213"/>
                    <a:pt x="211411" y="195370"/>
                  </a:cubicBezTo>
                  <a:cubicBezTo>
                    <a:pt x="221933" y="199879"/>
                    <a:pt x="228694" y="212538"/>
                    <a:pt x="239986" y="214420"/>
                  </a:cubicBezTo>
                  <a:cubicBezTo>
                    <a:pt x="249890" y="216071"/>
                    <a:pt x="259036" y="208070"/>
                    <a:pt x="268561" y="204895"/>
                  </a:cubicBezTo>
                  <a:cubicBezTo>
                    <a:pt x="278086" y="208070"/>
                    <a:pt x="287096" y="214420"/>
                    <a:pt x="297136" y="214420"/>
                  </a:cubicBezTo>
                  <a:cubicBezTo>
                    <a:pt x="311500" y="214420"/>
                    <a:pt x="366330" y="199044"/>
                    <a:pt x="382861" y="195370"/>
                  </a:cubicBezTo>
                  <a:cubicBezTo>
                    <a:pt x="398665" y="191858"/>
                    <a:pt x="414780" y="189772"/>
                    <a:pt x="430486" y="185845"/>
                  </a:cubicBezTo>
                  <a:cubicBezTo>
                    <a:pt x="440226" y="183410"/>
                    <a:pt x="449321" y="178755"/>
                    <a:pt x="459061" y="176320"/>
                  </a:cubicBezTo>
                  <a:cubicBezTo>
                    <a:pt x="474767" y="172393"/>
                    <a:pt x="490811" y="169970"/>
                    <a:pt x="506686" y="166795"/>
                  </a:cubicBezTo>
                  <a:cubicBezTo>
                    <a:pt x="512662" y="157830"/>
                    <a:pt x="535635" y="115435"/>
                    <a:pt x="554311" y="119170"/>
                  </a:cubicBezTo>
                  <a:cubicBezTo>
                    <a:pt x="565536" y="121415"/>
                    <a:pt x="566032" y="138951"/>
                    <a:pt x="573361" y="147745"/>
                  </a:cubicBezTo>
                  <a:cubicBezTo>
                    <a:pt x="596280" y="175247"/>
                    <a:pt x="602414" y="176639"/>
                    <a:pt x="630511" y="195370"/>
                  </a:cubicBezTo>
                  <a:cubicBezTo>
                    <a:pt x="646386" y="192195"/>
                    <a:pt x="664080" y="193877"/>
                    <a:pt x="678136" y="185845"/>
                  </a:cubicBezTo>
                  <a:cubicBezTo>
                    <a:pt x="728023" y="157338"/>
                    <a:pt x="664165" y="146263"/>
                    <a:pt x="725761" y="166795"/>
                  </a:cubicBezTo>
                  <a:cubicBezTo>
                    <a:pt x="738461" y="163620"/>
                    <a:pt x="752969" y="164532"/>
                    <a:pt x="763861" y="157270"/>
                  </a:cubicBezTo>
                  <a:cubicBezTo>
                    <a:pt x="773386" y="150920"/>
                    <a:pt x="775582" y="137489"/>
                    <a:pt x="782911" y="128695"/>
                  </a:cubicBezTo>
                  <a:cubicBezTo>
                    <a:pt x="844027" y="55356"/>
                    <a:pt x="783238" y="142491"/>
                    <a:pt x="830536" y="71545"/>
                  </a:cubicBezTo>
                  <a:cubicBezTo>
                    <a:pt x="833711" y="58845"/>
                    <a:pt x="831883" y="43667"/>
                    <a:pt x="840061" y="33445"/>
                  </a:cubicBezTo>
                  <a:cubicBezTo>
                    <a:pt x="846333" y="25605"/>
                    <a:pt x="858982" y="26678"/>
                    <a:pt x="868636" y="23920"/>
                  </a:cubicBezTo>
                  <a:cubicBezTo>
                    <a:pt x="952357" y="0"/>
                    <a:pt x="866798" y="27708"/>
                    <a:pt x="935311" y="4870"/>
                  </a:cubicBezTo>
                  <a:cubicBezTo>
                    <a:pt x="941661" y="14395"/>
                    <a:pt x="953789" y="22012"/>
                    <a:pt x="954361" y="33445"/>
                  </a:cubicBezTo>
                  <a:cubicBezTo>
                    <a:pt x="955287" y="51973"/>
                    <a:pt x="957614" y="204777"/>
                    <a:pt x="925786" y="252520"/>
                  </a:cubicBezTo>
                  <a:cubicBezTo>
                    <a:pt x="919436" y="262045"/>
                    <a:pt x="915675" y="273944"/>
                    <a:pt x="906736" y="281095"/>
                  </a:cubicBezTo>
                  <a:cubicBezTo>
                    <a:pt x="898896" y="287367"/>
                    <a:pt x="887686" y="287445"/>
                    <a:pt x="878161" y="290620"/>
                  </a:cubicBezTo>
                  <a:cubicBezTo>
                    <a:pt x="788477" y="380304"/>
                    <a:pt x="932294" y="245006"/>
                    <a:pt x="792436" y="338245"/>
                  </a:cubicBezTo>
                  <a:cubicBezTo>
                    <a:pt x="782911" y="344595"/>
                    <a:pt x="772655" y="349966"/>
                    <a:pt x="763861" y="357295"/>
                  </a:cubicBezTo>
                  <a:cubicBezTo>
                    <a:pt x="753513" y="365919"/>
                    <a:pt x="747061" y="379328"/>
                    <a:pt x="735286" y="385870"/>
                  </a:cubicBezTo>
                  <a:cubicBezTo>
                    <a:pt x="717733" y="395622"/>
                    <a:pt x="697186" y="398570"/>
                    <a:pt x="678136" y="404920"/>
                  </a:cubicBezTo>
                  <a:lnTo>
                    <a:pt x="620986" y="423970"/>
                  </a:lnTo>
                  <a:cubicBezTo>
                    <a:pt x="611461" y="427145"/>
                    <a:pt x="600765" y="427926"/>
                    <a:pt x="592411" y="433495"/>
                  </a:cubicBezTo>
                  <a:lnTo>
                    <a:pt x="563836" y="452545"/>
                  </a:lnTo>
                  <a:cubicBezTo>
                    <a:pt x="557486" y="462070"/>
                    <a:pt x="546668" y="469828"/>
                    <a:pt x="544786" y="481120"/>
                  </a:cubicBezTo>
                  <a:cubicBezTo>
                    <a:pt x="543135" y="491024"/>
                    <a:pt x="548742" y="501341"/>
                    <a:pt x="554311" y="509695"/>
                  </a:cubicBezTo>
                  <a:cubicBezTo>
                    <a:pt x="561783" y="520903"/>
                    <a:pt x="571678" y="530798"/>
                    <a:pt x="582886" y="538270"/>
                  </a:cubicBezTo>
                  <a:cubicBezTo>
                    <a:pt x="591085" y="543736"/>
                    <a:pt x="644480" y="556050"/>
                    <a:pt x="649561" y="557320"/>
                  </a:cubicBezTo>
                  <a:cubicBezTo>
                    <a:pt x="678136" y="643045"/>
                    <a:pt x="646386" y="598595"/>
                    <a:pt x="697186" y="623995"/>
                  </a:cubicBezTo>
                  <a:cubicBezTo>
                    <a:pt x="707425" y="629115"/>
                    <a:pt x="716236" y="636695"/>
                    <a:pt x="725761" y="643045"/>
                  </a:cubicBezTo>
                  <a:cubicBezTo>
                    <a:pt x="732395" y="652996"/>
                    <a:pt x="756965" y="684421"/>
                    <a:pt x="754336" y="700195"/>
                  </a:cubicBezTo>
                  <a:cubicBezTo>
                    <a:pt x="752454" y="711487"/>
                    <a:pt x="743381" y="720675"/>
                    <a:pt x="735286" y="728770"/>
                  </a:cubicBezTo>
                  <a:cubicBezTo>
                    <a:pt x="727191" y="736865"/>
                    <a:pt x="716236" y="741470"/>
                    <a:pt x="706711" y="747820"/>
                  </a:cubicBezTo>
                  <a:cubicBezTo>
                    <a:pt x="692083" y="725879"/>
                    <a:pt x="689758" y="709720"/>
                    <a:pt x="659086" y="709720"/>
                  </a:cubicBezTo>
                  <a:cubicBezTo>
                    <a:pt x="649046" y="709720"/>
                    <a:pt x="640036" y="716070"/>
                    <a:pt x="630511" y="719245"/>
                  </a:cubicBezTo>
                  <a:cubicBezTo>
                    <a:pt x="624161" y="709720"/>
                    <a:pt x="617141" y="700609"/>
                    <a:pt x="611461" y="690670"/>
                  </a:cubicBezTo>
                  <a:cubicBezTo>
                    <a:pt x="604416" y="678342"/>
                    <a:pt x="606186" y="656014"/>
                    <a:pt x="592411" y="652570"/>
                  </a:cubicBezTo>
                  <a:cubicBezTo>
                    <a:pt x="572930" y="647700"/>
                    <a:pt x="521062" y="657421"/>
                    <a:pt x="535261" y="671620"/>
                  </a:cubicBezTo>
                  <a:lnTo>
                    <a:pt x="544786" y="662095"/>
                  </a:ln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31" name="Freeform 28"/>
            <p:cNvSpPr>
              <a:spLocks noChangeArrowheads="1"/>
            </p:cNvSpPr>
            <p:nvPr/>
          </p:nvSpPr>
          <p:spPr bwMode="auto">
            <a:xfrm>
              <a:off x="3458011" y="6397812"/>
              <a:ext cx="644250" cy="1123792"/>
            </a:xfrm>
            <a:custGeom>
              <a:avLst/>
              <a:gdLst>
                <a:gd name="T0" fmla="*/ 0 w 858901"/>
                <a:gd name="T1" fmla="*/ 0 h 1498430"/>
                <a:gd name="T2" fmla="*/ 858901 w 858901"/>
                <a:gd name="T3" fmla="*/ 1498430 h 1498430"/>
              </a:gdLst>
              <a:ahLst/>
              <a:cxnLst/>
              <a:rect l="T0" t="T1" r="T2" b="T3"/>
              <a:pathLst>
                <a:path w="858901" h="1498430">
                  <a:moveTo>
                    <a:pt x="801751" y="430276"/>
                  </a:moveTo>
                  <a:cubicBezTo>
                    <a:pt x="795401" y="435038"/>
                    <a:pt x="783809" y="450581"/>
                    <a:pt x="773176" y="458851"/>
                  </a:cubicBezTo>
                  <a:cubicBezTo>
                    <a:pt x="755104" y="472907"/>
                    <a:pt x="716026" y="496951"/>
                    <a:pt x="716026" y="496951"/>
                  </a:cubicBezTo>
                  <a:cubicBezTo>
                    <a:pt x="706394" y="511398"/>
                    <a:pt x="687451" y="534383"/>
                    <a:pt x="687451" y="554101"/>
                  </a:cubicBezTo>
                  <a:cubicBezTo>
                    <a:pt x="687451" y="564141"/>
                    <a:pt x="693801" y="573151"/>
                    <a:pt x="696976" y="582676"/>
                  </a:cubicBezTo>
                  <a:cubicBezTo>
                    <a:pt x="694610" y="599241"/>
                    <a:pt x="690714" y="654907"/>
                    <a:pt x="677926" y="677926"/>
                  </a:cubicBezTo>
                  <a:cubicBezTo>
                    <a:pt x="666807" y="697940"/>
                    <a:pt x="639826" y="735076"/>
                    <a:pt x="639826" y="735076"/>
                  </a:cubicBezTo>
                  <a:cubicBezTo>
                    <a:pt x="630301" y="728726"/>
                    <a:pt x="622699" y="716026"/>
                    <a:pt x="611251" y="716026"/>
                  </a:cubicBezTo>
                  <a:cubicBezTo>
                    <a:pt x="591171" y="716026"/>
                    <a:pt x="554101" y="735076"/>
                    <a:pt x="554101" y="735076"/>
                  </a:cubicBezTo>
                  <a:cubicBezTo>
                    <a:pt x="547751" y="744601"/>
                    <a:pt x="543666" y="756113"/>
                    <a:pt x="535051" y="763651"/>
                  </a:cubicBezTo>
                  <a:cubicBezTo>
                    <a:pt x="517821" y="778728"/>
                    <a:pt x="477901" y="801751"/>
                    <a:pt x="477901" y="801751"/>
                  </a:cubicBezTo>
                  <a:cubicBezTo>
                    <a:pt x="474726" y="811276"/>
                    <a:pt x="468376" y="820286"/>
                    <a:pt x="468376" y="830326"/>
                  </a:cubicBezTo>
                  <a:cubicBezTo>
                    <a:pt x="468376" y="843417"/>
                    <a:pt x="474139" y="855887"/>
                    <a:pt x="477901" y="868426"/>
                  </a:cubicBezTo>
                  <a:cubicBezTo>
                    <a:pt x="483671" y="887660"/>
                    <a:pt x="492081" y="906095"/>
                    <a:pt x="496951" y="925576"/>
                  </a:cubicBezTo>
                  <a:cubicBezTo>
                    <a:pt x="500126" y="938276"/>
                    <a:pt x="501319" y="951644"/>
                    <a:pt x="506476" y="963676"/>
                  </a:cubicBezTo>
                  <a:cubicBezTo>
                    <a:pt x="510985" y="974198"/>
                    <a:pt x="519176" y="982726"/>
                    <a:pt x="525526" y="992251"/>
                  </a:cubicBezTo>
                  <a:cubicBezTo>
                    <a:pt x="522351" y="1004951"/>
                    <a:pt x="528780" y="1027511"/>
                    <a:pt x="516001" y="1030351"/>
                  </a:cubicBezTo>
                  <a:cubicBezTo>
                    <a:pt x="490443" y="1036031"/>
                    <a:pt x="464639" y="1019580"/>
                    <a:pt x="439801" y="1011301"/>
                  </a:cubicBezTo>
                  <a:lnTo>
                    <a:pt x="382651" y="992251"/>
                  </a:lnTo>
                  <a:cubicBezTo>
                    <a:pt x="396114" y="1059567"/>
                    <a:pt x="387056" y="1024517"/>
                    <a:pt x="411226" y="1097026"/>
                  </a:cubicBezTo>
                  <a:lnTo>
                    <a:pt x="420751" y="1125601"/>
                  </a:lnTo>
                  <a:cubicBezTo>
                    <a:pt x="432094" y="1250374"/>
                    <a:pt x="441366" y="1197107"/>
                    <a:pt x="411226" y="1287526"/>
                  </a:cubicBezTo>
                  <a:cubicBezTo>
                    <a:pt x="408051" y="1297051"/>
                    <a:pt x="407270" y="1307747"/>
                    <a:pt x="401701" y="1316101"/>
                  </a:cubicBezTo>
                  <a:lnTo>
                    <a:pt x="344551" y="1401826"/>
                  </a:lnTo>
                  <a:lnTo>
                    <a:pt x="325501" y="1430401"/>
                  </a:lnTo>
                  <a:cubicBezTo>
                    <a:pt x="323229" y="1439489"/>
                    <a:pt x="314467" y="1492691"/>
                    <a:pt x="296926" y="1497076"/>
                  </a:cubicBezTo>
                  <a:cubicBezTo>
                    <a:pt x="291510" y="1498430"/>
                    <a:pt x="201960" y="1479988"/>
                    <a:pt x="192151" y="1478026"/>
                  </a:cubicBezTo>
                  <a:cubicBezTo>
                    <a:pt x="185801" y="1468501"/>
                    <a:pt x="178221" y="1459690"/>
                    <a:pt x="173101" y="1449451"/>
                  </a:cubicBezTo>
                  <a:cubicBezTo>
                    <a:pt x="168611" y="1440471"/>
                    <a:pt x="169848" y="1428716"/>
                    <a:pt x="163576" y="1420876"/>
                  </a:cubicBezTo>
                  <a:cubicBezTo>
                    <a:pt x="156425" y="1411937"/>
                    <a:pt x="144526" y="1408176"/>
                    <a:pt x="135001" y="1401826"/>
                  </a:cubicBezTo>
                  <a:cubicBezTo>
                    <a:pt x="122301" y="1382776"/>
                    <a:pt x="118621" y="1351916"/>
                    <a:pt x="96901" y="1344676"/>
                  </a:cubicBezTo>
                  <a:lnTo>
                    <a:pt x="39751" y="1325626"/>
                  </a:lnTo>
                  <a:lnTo>
                    <a:pt x="11176" y="1316101"/>
                  </a:lnTo>
                  <a:cubicBezTo>
                    <a:pt x="8001" y="1306576"/>
                    <a:pt x="0" y="1297430"/>
                    <a:pt x="1651" y="1287526"/>
                  </a:cubicBezTo>
                  <a:cubicBezTo>
                    <a:pt x="3533" y="1276234"/>
                    <a:pt x="15581" y="1269190"/>
                    <a:pt x="20701" y="1258951"/>
                  </a:cubicBezTo>
                  <a:cubicBezTo>
                    <a:pt x="33566" y="1233220"/>
                    <a:pt x="33898" y="1199566"/>
                    <a:pt x="39751" y="1173226"/>
                  </a:cubicBezTo>
                  <a:cubicBezTo>
                    <a:pt x="41929" y="1163425"/>
                    <a:pt x="41106" y="1150487"/>
                    <a:pt x="49276" y="1144651"/>
                  </a:cubicBezTo>
                  <a:cubicBezTo>
                    <a:pt x="65616" y="1132979"/>
                    <a:pt x="106426" y="1125601"/>
                    <a:pt x="106426" y="1125601"/>
                  </a:cubicBezTo>
                  <a:cubicBezTo>
                    <a:pt x="115951" y="1128776"/>
                    <a:pt x="129432" y="1143480"/>
                    <a:pt x="135001" y="1135126"/>
                  </a:cubicBezTo>
                  <a:cubicBezTo>
                    <a:pt x="158921" y="1099246"/>
                    <a:pt x="110376" y="1091993"/>
                    <a:pt x="96901" y="1087501"/>
                  </a:cubicBezTo>
                  <a:cubicBezTo>
                    <a:pt x="53232" y="1021997"/>
                    <a:pt x="66041" y="1052071"/>
                    <a:pt x="49276" y="1001776"/>
                  </a:cubicBezTo>
                  <a:cubicBezTo>
                    <a:pt x="76528" y="920020"/>
                    <a:pt x="34799" y="1050158"/>
                    <a:pt x="68326" y="916051"/>
                  </a:cubicBezTo>
                  <a:cubicBezTo>
                    <a:pt x="73196" y="896570"/>
                    <a:pt x="87376" y="858901"/>
                    <a:pt x="87376" y="858901"/>
                  </a:cubicBezTo>
                  <a:cubicBezTo>
                    <a:pt x="57187" y="813618"/>
                    <a:pt x="71946" y="841186"/>
                    <a:pt x="49276" y="773176"/>
                  </a:cubicBezTo>
                  <a:lnTo>
                    <a:pt x="39751" y="744601"/>
                  </a:lnTo>
                  <a:cubicBezTo>
                    <a:pt x="46101" y="735076"/>
                    <a:pt x="58801" y="727474"/>
                    <a:pt x="58801" y="716026"/>
                  </a:cubicBezTo>
                  <a:cubicBezTo>
                    <a:pt x="58801" y="695946"/>
                    <a:pt x="39751" y="658876"/>
                    <a:pt x="39751" y="658876"/>
                  </a:cubicBezTo>
                  <a:cubicBezTo>
                    <a:pt x="125476" y="630301"/>
                    <a:pt x="81026" y="662051"/>
                    <a:pt x="106426" y="611251"/>
                  </a:cubicBezTo>
                  <a:cubicBezTo>
                    <a:pt x="111546" y="601012"/>
                    <a:pt x="119126" y="592201"/>
                    <a:pt x="125476" y="582676"/>
                  </a:cubicBezTo>
                  <a:cubicBezTo>
                    <a:pt x="128651" y="569976"/>
                    <a:pt x="133150" y="557535"/>
                    <a:pt x="135001" y="544576"/>
                  </a:cubicBezTo>
                  <a:cubicBezTo>
                    <a:pt x="139514" y="512988"/>
                    <a:pt x="137351" y="480417"/>
                    <a:pt x="144526" y="449326"/>
                  </a:cubicBezTo>
                  <a:cubicBezTo>
                    <a:pt x="147100" y="438172"/>
                    <a:pt x="157226" y="430276"/>
                    <a:pt x="163576" y="420751"/>
                  </a:cubicBezTo>
                  <a:cubicBezTo>
                    <a:pt x="235400" y="444692"/>
                    <a:pt x="146868" y="412397"/>
                    <a:pt x="220726" y="449326"/>
                  </a:cubicBezTo>
                  <a:cubicBezTo>
                    <a:pt x="229706" y="453816"/>
                    <a:pt x="239776" y="455676"/>
                    <a:pt x="249301" y="458851"/>
                  </a:cubicBezTo>
                  <a:cubicBezTo>
                    <a:pt x="279490" y="413568"/>
                    <a:pt x="264731" y="441136"/>
                    <a:pt x="287401" y="373126"/>
                  </a:cubicBezTo>
                  <a:cubicBezTo>
                    <a:pt x="290576" y="363601"/>
                    <a:pt x="291357" y="352905"/>
                    <a:pt x="296926" y="344551"/>
                  </a:cubicBezTo>
                  <a:cubicBezTo>
                    <a:pt x="342498" y="276193"/>
                    <a:pt x="318837" y="303590"/>
                    <a:pt x="363601" y="258826"/>
                  </a:cubicBezTo>
                  <a:cubicBezTo>
                    <a:pt x="335026" y="173101"/>
                    <a:pt x="366776" y="217551"/>
                    <a:pt x="315976" y="192151"/>
                  </a:cubicBezTo>
                  <a:cubicBezTo>
                    <a:pt x="305737" y="187031"/>
                    <a:pt x="296926" y="179451"/>
                    <a:pt x="287401" y="173101"/>
                  </a:cubicBezTo>
                  <a:cubicBezTo>
                    <a:pt x="272460" y="150689"/>
                    <a:pt x="251542" y="138363"/>
                    <a:pt x="287401" y="115951"/>
                  </a:cubicBezTo>
                  <a:cubicBezTo>
                    <a:pt x="304429" y="105308"/>
                    <a:pt x="325501" y="103251"/>
                    <a:pt x="344551" y="96901"/>
                  </a:cubicBezTo>
                  <a:lnTo>
                    <a:pt x="373126" y="87376"/>
                  </a:lnTo>
                  <a:cubicBezTo>
                    <a:pt x="392176" y="93726"/>
                    <a:pt x="413568" y="117565"/>
                    <a:pt x="430276" y="106426"/>
                  </a:cubicBezTo>
                  <a:cubicBezTo>
                    <a:pt x="439801" y="100076"/>
                    <a:pt x="448612" y="92496"/>
                    <a:pt x="458851" y="87376"/>
                  </a:cubicBezTo>
                  <a:cubicBezTo>
                    <a:pt x="472516" y="80544"/>
                    <a:pt x="513319" y="71378"/>
                    <a:pt x="525526" y="68326"/>
                  </a:cubicBezTo>
                  <a:cubicBezTo>
                    <a:pt x="535051" y="74676"/>
                    <a:pt x="542926" y="89859"/>
                    <a:pt x="554101" y="87376"/>
                  </a:cubicBezTo>
                  <a:cubicBezTo>
                    <a:pt x="576451" y="82409"/>
                    <a:pt x="611251" y="49276"/>
                    <a:pt x="611251" y="49276"/>
                  </a:cubicBezTo>
                  <a:cubicBezTo>
                    <a:pt x="622363" y="32607"/>
                    <a:pt x="635063" y="5620"/>
                    <a:pt x="658876" y="1651"/>
                  </a:cubicBezTo>
                  <a:cubicBezTo>
                    <a:pt x="668780" y="0"/>
                    <a:pt x="677926" y="8001"/>
                    <a:pt x="687451" y="11176"/>
                  </a:cubicBezTo>
                  <a:cubicBezTo>
                    <a:pt x="693801" y="20701"/>
                    <a:pt x="698406" y="31656"/>
                    <a:pt x="706501" y="39751"/>
                  </a:cubicBezTo>
                  <a:cubicBezTo>
                    <a:pt x="714596" y="47846"/>
                    <a:pt x="727538" y="50186"/>
                    <a:pt x="735076" y="58801"/>
                  </a:cubicBezTo>
                  <a:lnTo>
                    <a:pt x="792226" y="144526"/>
                  </a:lnTo>
                  <a:cubicBezTo>
                    <a:pt x="798576" y="154051"/>
                    <a:pt x="807656" y="162241"/>
                    <a:pt x="811276" y="173101"/>
                  </a:cubicBezTo>
                  <a:lnTo>
                    <a:pt x="839851" y="258826"/>
                  </a:lnTo>
                  <a:lnTo>
                    <a:pt x="849376" y="287401"/>
                  </a:lnTo>
                  <a:lnTo>
                    <a:pt x="858901" y="315976"/>
                  </a:lnTo>
                  <a:cubicBezTo>
                    <a:pt x="855726" y="325501"/>
                    <a:pt x="853866" y="335571"/>
                    <a:pt x="849376" y="344551"/>
                  </a:cubicBezTo>
                  <a:cubicBezTo>
                    <a:pt x="844256" y="354790"/>
                    <a:pt x="834975" y="362665"/>
                    <a:pt x="830326" y="373126"/>
                  </a:cubicBezTo>
                  <a:cubicBezTo>
                    <a:pt x="822171" y="391476"/>
                    <a:pt x="830326" y="423926"/>
                    <a:pt x="811276" y="430276"/>
                  </a:cubicBezTo>
                  <a:cubicBezTo>
                    <a:pt x="775966" y="442046"/>
                    <a:pt x="808101" y="425514"/>
                    <a:pt x="801751" y="430276"/>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32" name="Freeform 29"/>
            <p:cNvSpPr>
              <a:spLocks noChangeArrowheads="1"/>
            </p:cNvSpPr>
            <p:nvPr/>
          </p:nvSpPr>
          <p:spPr bwMode="auto">
            <a:xfrm>
              <a:off x="3702163" y="6681424"/>
              <a:ext cx="916508" cy="803446"/>
            </a:xfrm>
            <a:custGeom>
              <a:avLst/>
              <a:gdLst>
                <a:gd name="T0" fmla="*/ 0 w 1206960"/>
                <a:gd name="T1" fmla="*/ 0 h 1071290"/>
                <a:gd name="T2" fmla="*/ 1206960 w 1206960"/>
                <a:gd name="T3" fmla="*/ 1071290 h 1071290"/>
              </a:gdLst>
              <a:ahLst/>
              <a:cxnLst/>
              <a:rect l="T0" t="T1" r="T2" b="T3"/>
              <a:pathLst>
                <a:path w="1206960" h="1071290">
                  <a:moveTo>
                    <a:pt x="585165" y="814115"/>
                  </a:moveTo>
                  <a:cubicBezTo>
                    <a:pt x="574053" y="812528"/>
                    <a:pt x="547065" y="795065"/>
                    <a:pt x="528015" y="814115"/>
                  </a:cubicBezTo>
                  <a:cubicBezTo>
                    <a:pt x="520915" y="821215"/>
                    <a:pt x="525590" y="835590"/>
                    <a:pt x="518490" y="842690"/>
                  </a:cubicBezTo>
                  <a:cubicBezTo>
                    <a:pt x="480689" y="880491"/>
                    <a:pt x="466261" y="879560"/>
                    <a:pt x="423240" y="890315"/>
                  </a:cubicBezTo>
                  <a:cubicBezTo>
                    <a:pt x="399999" y="882568"/>
                    <a:pt x="384554" y="880204"/>
                    <a:pt x="366090" y="861740"/>
                  </a:cubicBezTo>
                  <a:cubicBezTo>
                    <a:pt x="357995" y="853645"/>
                    <a:pt x="353390" y="842690"/>
                    <a:pt x="347040" y="833165"/>
                  </a:cubicBezTo>
                  <a:cubicBezTo>
                    <a:pt x="327990" y="839515"/>
                    <a:pt x="296240" y="833165"/>
                    <a:pt x="289890" y="852215"/>
                  </a:cubicBezTo>
                  <a:cubicBezTo>
                    <a:pt x="275689" y="894817"/>
                    <a:pt x="278928" y="913498"/>
                    <a:pt x="242265" y="937940"/>
                  </a:cubicBezTo>
                  <a:cubicBezTo>
                    <a:pt x="233911" y="943509"/>
                    <a:pt x="223215" y="944290"/>
                    <a:pt x="213690" y="947465"/>
                  </a:cubicBezTo>
                  <a:cubicBezTo>
                    <a:pt x="206553" y="968876"/>
                    <a:pt x="202346" y="995696"/>
                    <a:pt x="175590" y="1004615"/>
                  </a:cubicBezTo>
                  <a:lnTo>
                    <a:pt x="147015" y="995090"/>
                  </a:lnTo>
                  <a:cubicBezTo>
                    <a:pt x="92366" y="1013306"/>
                    <a:pt x="143377" y="991570"/>
                    <a:pt x="89865" y="1033190"/>
                  </a:cubicBezTo>
                  <a:cubicBezTo>
                    <a:pt x="71793" y="1047246"/>
                    <a:pt x="32715" y="1071290"/>
                    <a:pt x="32715" y="1071290"/>
                  </a:cubicBezTo>
                  <a:cubicBezTo>
                    <a:pt x="23190" y="1064940"/>
                    <a:pt x="7760" y="1063100"/>
                    <a:pt x="4140" y="1052240"/>
                  </a:cubicBezTo>
                  <a:cubicBezTo>
                    <a:pt x="0" y="1039821"/>
                    <a:pt x="7811" y="1025849"/>
                    <a:pt x="13665" y="1014140"/>
                  </a:cubicBezTo>
                  <a:cubicBezTo>
                    <a:pt x="36451" y="968568"/>
                    <a:pt x="48982" y="959773"/>
                    <a:pt x="80340" y="928415"/>
                  </a:cubicBezTo>
                  <a:cubicBezTo>
                    <a:pt x="105497" y="852943"/>
                    <a:pt x="102691" y="891072"/>
                    <a:pt x="89865" y="814115"/>
                  </a:cubicBezTo>
                  <a:cubicBezTo>
                    <a:pt x="86690" y="772840"/>
                    <a:pt x="86796" y="731180"/>
                    <a:pt x="80340" y="690290"/>
                  </a:cubicBezTo>
                  <a:cubicBezTo>
                    <a:pt x="77208" y="670455"/>
                    <a:pt x="67640" y="652190"/>
                    <a:pt x="61290" y="633140"/>
                  </a:cubicBezTo>
                  <a:lnTo>
                    <a:pt x="51765" y="604565"/>
                  </a:lnTo>
                  <a:cubicBezTo>
                    <a:pt x="61290" y="601390"/>
                    <a:pt x="71018" y="591311"/>
                    <a:pt x="80340" y="595040"/>
                  </a:cubicBezTo>
                  <a:cubicBezTo>
                    <a:pt x="90969" y="599292"/>
                    <a:pt x="91295" y="615520"/>
                    <a:pt x="99390" y="623615"/>
                  </a:cubicBezTo>
                  <a:cubicBezTo>
                    <a:pt x="117854" y="642079"/>
                    <a:pt x="133299" y="644443"/>
                    <a:pt x="156540" y="652190"/>
                  </a:cubicBezTo>
                  <a:cubicBezTo>
                    <a:pt x="166065" y="645840"/>
                    <a:pt x="177964" y="642079"/>
                    <a:pt x="185115" y="633140"/>
                  </a:cubicBezTo>
                  <a:cubicBezTo>
                    <a:pt x="201187" y="613050"/>
                    <a:pt x="193937" y="587049"/>
                    <a:pt x="185115" y="566465"/>
                  </a:cubicBezTo>
                  <a:cubicBezTo>
                    <a:pt x="180606" y="555943"/>
                    <a:pt x="170714" y="548351"/>
                    <a:pt x="166065" y="537890"/>
                  </a:cubicBezTo>
                  <a:cubicBezTo>
                    <a:pt x="157910" y="519540"/>
                    <a:pt x="153365" y="499790"/>
                    <a:pt x="147015" y="480740"/>
                  </a:cubicBezTo>
                  <a:lnTo>
                    <a:pt x="137490" y="452165"/>
                  </a:lnTo>
                  <a:lnTo>
                    <a:pt x="127965" y="423590"/>
                  </a:lnTo>
                  <a:cubicBezTo>
                    <a:pt x="178765" y="347390"/>
                    <a:pt x="112090" y="439465"/>
                    <a:pt x="175590" y="375965"/>
                  </a:cubicBezTo>
                  <a:cubicBezTo>
                    <a:pt x="183685" y="367870"/>
                    <a:pt x="185701" y="354541"/>
                    <a:pt x="194640" y="347390"/>
                  </a:cubicBezTo>
                  <a:cubicBezTo>
                    <a:pt x="204403" y="339580"/>
                    <a:pt x="268468" y="328814"/>
                    <a:pt x="270840" y="328340"/>
                  </a:cubicBezTo>
                  <a:cubicBezTo>
                    <a:pt x="280365" y="331515"/>
                    <a:pt x="290093" y="341594"/>
                    <a:pt x="299415" y="337865"/>
                  </a:cubicBezTo>
                  <a:cubicBezTo>
                    <a:pt x="310044" y="333613"/>
                    <a:pt x="313345" y="319529"/>
                    <a:pt x="318465" y="309290"/>
                  </a:cubicBezTo>
                  <a:cubicBezTo>
                    <a:pt x="322955" y="300310"/>
                    <a:pt x="323500" y="289695"/>
                    <a:pt x="327990" y="280715"/>
                  </a:cubicBezTo>
                  <a:cubicBezTo>
                    <a:pt x="364919" y="206857"/>
                    <a:pt x="332624" y="295389"/>
                    <a:pt x="356565" y="223565"/>
                  </a:cubicBezTo>
                  <a:cubicBezTo>
                    <a:pt x="359740" y="194990"/>
                    <a:pt x="356998" y="165115"/>
                    <a:pt x="366090" y="137840"/>
                  </a:cubicBezTo>
                  <a:cubicBezTo>
                    <a:pt x="391204" y="62499"/>
                    <a:pt x="390607" y="92244"/>
                    <a:pt x="432765" y="71165"/>
                  </a:cubicBezTo>
                  <a:cubicBezTo>
                    <a:pt x="443004" y="66045"/>
                    <a:pt x="451815" y="58465"/>
                    <a:pt x="461340" y="52115"/>
                  </a:cubicBezTo>
                  <a:cubicBezTo>
                    <a:pt x="470865" y="58465"/>
                    <a:pt x="478623" y="69283"/>
                    <a:pt x="489915" y="71165"/>
                  </a:cubicBezTo>
                  <a:cubicBezTo>
                    <a:pt x="499819" y="72816"/>
                    <a:pt x="508836" y="64398"/>
                    <a:pt x="518490" y="61640"/>
                  </a:cubicBezTo>
                  <a:cubicBezTo>
                    <a:pt x="531077" y="58044"/>
                    <a:pt x="543890" y="55290"/>
                    <a:pt x="556590" y="52115"/>
                  </a:cubicBezTo>
                  <a:cubicBezTo>
                    <a:pt x="566115" y="45765"/>
                    <a:pt x="573717" y="33065"/>
                    <a:pt x="585165" y="33065"/>
                  </a:cubicBezTo>
                  <a:cubicBezTo>
                    <a:pt x="596613" y="33065"/>
                    <a:pt x="603501" y="46995"/>
                    <a:pt x="613740" y="52115"/>
                  </a:cubicBezTo>
                  <a:cubicBezTo>
                    <a:pt x="622720" y="56605"/>
                    <a:pt x="632790" y="58465"/>
                    <a:pt x="642315" y="61640"/>
                  </a:cubicBezTo>
                  <a:cubicBezTo>
                    <a:pt x="648665" y="80690"/>
                    <a:pt x="642315" y="112440"/>
                    <a:pt x="661365" y="118790"/>
                  </a:cubicBezTo>
                  <a:lnTo>
                    <a:pt x="718515" y="137840"/>
                  </a:lnTo>
                  <a:lnTo>
                    <a:pt x="747090" y="147365"/>
                  </a:lnTo>
                  <a:cubicBezTo>
                    <a:pt x="756615" y="144190"/>
                    <a:pt x="765864" y="140018"/>
                    <a:pt x="775665" y="137840"/>
                  </a:cubicBezTo>
                  <a:cubicBezTo>
                    <a:pt x="876245" y="115489"/>
                    <a:pt x="797064" y="140232"/>
                    <a:pt x="861390" y="118790"/>
                  </a:cubicBezTo>
                  <a:cubicBezTo>
                    <a:pt x="864565" y="109265"/>
                    <a:pt x="872024" y="100194"/>
                    <a:pt x="870915" y="90215"/>
                  </a:cubicBezTo>
                  <a:cubicBezTo>
                    <a:pt x="868697" y="70257"/>
                    <a:pt x="851865" y="33065"/>
                    <a:pt x="851865" y="33065"/>
                  </a:cubicBezTo>
                  <a:cubicBezTo>
                    <a:pt x="855040" y="23540"/>
                    <a:pt x="852410" y="8980"/>
                    <a:pt x="861390" y="4490"/>
                  </a:cubicBezTo>
                  <a:cubicBezTo>
                    <a:pt x="870370" y="0"/>
                    <a:pt x="881611" y="8446"/>
                    <a:pt x="889965" y="14015"/>
                  </a:cubicBezTo>
                  <a:cubicBezTo>
                    <a:pt x="953162" y="56146"/>
                    <a:pt x="884789" y="30477"/>
                    <a:pt x="947115" y="61640"/>
                  </a:cubicBezTo>
                  <a:cubicBezTo>
                    <a:pt x="1025985" y="101075"/>
                    <a:pt x="922373" y="35620"/>
                    <a:pt x="1004265" y="90215"/>
                  </a:cubicBezTo>
                  <a:cubicBezTo>
                    <a:pt x="1007440" y="99740"/>
                    <a:pt x="1005436" y="113221"/>
                    <a:pt x="1013790" y="118790"/>
                  </a:cubicBezTo>
                  <a:cubicBezTo>
                    <a:pt x="1027260" y="127770"/>
                    <a:pt x="1046256" y="122631"/>
                    <a:pt x="1061415" y="128315"/>
                  </a:cubicBezTo>
                  <a:cubicBezTo>
                    <a:pt x="1097030" y="141671"/>
                    <a:pt x="1086800" y="154763"/>
                    <a:pt x="1118565" y="175940"/>
                  </a:cubicBezTo>
                  <a:cubicBezTo>
                    <a:pt x="1126919" y="181509"/>
                    <a:pt x="1137615" y="182290"/>
                    <a:pt x="1147140" y="185465"/>
                  </a:cubicBezTo>
                  <a:cubicBezTo>
                    <a:pt x="1159840" y="204515"/>
                    <a:pt x="1206960" y="235375"/>
                    <a:pt x="1185240" y="242615"/>
                  </a:cubicBezTo>
                  <a:cubicBezTo>
                    <a:pt x="1166190" y="248965"/>
                    <a:pt x="1144798" y="250526"/>
                    <a:pt x="1128090" y="261665"/>
                  </a:cubicBezTo>
                  <a:cubicBezTo>
                    <a:pt x="1118565" y="268015"/>
                    <a:pt x="1108309" y="273386"/>
                    <a:pt x="1099515" y="280715"/>
                  </a:cubicBezTo>
                  <a:cubicBezTo>
                    <a:pt x="1081459" y="295762"/>
                    <a:pt x="1062594" y="316458"/>
                    <a:pt x="1051890" y="337865"/>
                  </a:cubicBezTo>
                  <a:cubicBezTo>
                    <a:pt x="1047400" y="346845"/>
                    <a:pt x="1045540" y="356915"/>
                    <a:pt x="1042365" y="366440"/>
                  </a:cubicBezTo>
                  <a:cubicBezTo>
                    <a:pt x="1051997" y="380887"/>
                    <a:pt x="1070940" y="403872"/>
                    <a:pt x="1070940" y="423590"/>
                  </a:cubicBezTo>
                  <a:cubicBezTo>
                    <a:pt x="1070940" y="433630"/>
                    <a:pt x="1068515" y="445065"/>
                    <a:pt x="1061415" y="452165"/>
                  </a:cubicBezTo>
                  <a:cubicBezTo>
                    <a:pt x="1054315" y="459265"/>
                    <a:pt x="1042365" y="458515"/>
                    <a:pt x="1032840" y="461690"/>
                  </a:cubicBezTo>
                  <a:cubicBezTo>
                    <a:pt x="1026490" y="471215"/>
                    <a:pt x="1015672" y="478973"/>
                    <a:pt x="1013790" y="490265"/>
                  </a:cubicBezTo>
                  <a:cubicBezTo>
                    <a:pt x="1007106" y="530370"/>
                    <a:pt x="1045874" y="507310"/>
                    <a:pt x="1013790" y="547415"/>
                  </a:cubicBezTo>
                  <a:cubicBezTo>
                    <a:pt x="1006639" y="556354"/>
                    <a:pt x="994009" y="559136"/>
                    <a:pt x="985215" y="566465"/>
                  </a:cubicBezTo>
                  <a:cubicBezTo>
                    <a:pt x="974867" y="575089"/>
                    <a:pt x="966165" y="585515"/>
                    <a:pt x="956640" y="595040"/>
                  </a:cubicBezTo>
                  <a:cubicBezTo>
                    <a:pt x="953465" y="607740"/>
                    <a:pt x="954377" y="622248"/>
                    <a:pt x="947115" y="633140"/>
                  </a:cubicBezTo>
                  <a:cubicBezTo>
                    <a:pt x="940765" y="642665"/>
                    <a:pt x="929001" y="647541"/>
                    <a:pt x="918540" y="652190"/>
                  </a:cubicBezTo>
                  <a:cubicBezTo>
                    <a:pt x="900190" y="660345"/>
                    <a:pt x="880440" y="664890"/>
                    <a:pt x="861390" y="671240"/>
                  </a:cubicBezTo>
                  <a:lnTo>
                    <a:pt x="804240" y="690290"/>
                  </a:lnTo>
                  <a:cubicBezTo>
                    <a:pt x="794715" y="693465"/>
                    <a:pt x="784019" y="694246"/>
                    <a:pt x="775665" y="699815"/>
                  </a:cubicBezTo>
                  <a:cubicBezTo>
                    <a:pt x="756615" y="712515"/>
                    <a:pt x="740235" y="730675"/>
                    <a:pt x="718515" y="737915"/>
                  </a:cubicBezTo>
                  <a:cubicBezTo>
                    <a:pt x="699465" y="744265"/>
                    <a:pt x="678073" y="745826"/>
                    <a:pt x="661365" y="756965"/>
                  </a:cubicBezTo>
                  <a:lnTo>
                    <a:pt x="604215" y="795065"/>
                  </a:lnTo>
                  <a:cubicBezTo>
                    <a:pt x="601040" y="804590"/>
                    <a:pt x="603670" y="819150"/>
                    <a:pt x="594690" y="823640"/>
                  </a:cubicBezTo>
                  <a:cubicBezTo>
                    <a:pt x="563103" y="839434"/>
                    <a:pt x="596277" y="815702"/>
                    <a:pt x="585165" y="814115"/>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33" name="Freeform 30"/>
            <p:cNvSpPr>
              <a:spLocks noChangeArrowheads="1"/>
            </p:cNvSpPr>
            <p:nvPr/>
          </p:nvSpPr>
          <p:spPr bwMode="auto">
            <a:xfrm>
              <a:off x="4295163" y="6106162"/>
              <a:ext cx="585856" cy="771506"/>
            </a:xfrm>
            <a:custGeom>
              <a:avLst/>
              <a:gdLst>
                <a:gd name="T0" fmla="*/ 0 w 724220"/>
                <a:gd name="T1" fmla="*/ 0 h 1028700"/>
                <a:gd name="T2" fmla="*/ 724220 w 724220"/>
                <a:gd name="T3" fmla="*/ 1028700 h 1028700"/>
              </a:gdLst>
              <a:ahLst/>
              <a:cxnLst/>
              <a:rect l="T0" t="T1" r="T2" b="T3"/>
              <a:pathLst>
                <a:path w="724220" h="1028700">
                  <a:moveTo>
                    <a:pt x="381000" y="1019175"/>
                  </a:moveTo>
                  <a:cubicBezTo>
                    <a:pt x="373063" y="1012825"/>
                    <a:pt x="369211" y="975454"/>
                    <a:pt x="352425" y="962025"/>
                  </a:cubicBezTo>
                  <a:cubicBezTo>
                    <a:pt x="344585" y="955753"/>
                    <a:pt x="332830" y="956990"/>
                    <a:pt x="323850" y="952500"/>
                  </a:cubicBezTo>
                  <a:cubicBezTo>
                    <a:pt x="313611" y="947380"/>
                    <a:pt x="304800" y="939800"/>
                    <a:pt x="295275" y="933450"/>
                  </a:cubicBezTo>
                  <a:cubicBezTo>
                    <a:pt x="288925" y="923925"/>
                    <a:pt x="285164" y="912026"/>
                    <a:pt x="276225" y="904875"/>
                  </a:cubicBezTo>
                  <a:cubicBezTo>
                    <a:pt x="266462" y="897065"/>
                    <a:pt x="202397" y="886299"/>
                    <a:pt x="200025" y="885825"/>
                  </a:cubicBezTo>
                  <a:cubicBezTo>
                    <a:pt x="223966" y="814001"/>
                    <a:pt x="191671" y="902533"/>
                    <a:pt x="228600" y="828675"/>
                  </a:cubicBezTo>
                  <a:cubicBezTo>
                    <a:pt x="233090" y="819695"/>
                    <a:pt x="234950" y="809625"/>
                    <a:pt x="238125" y="800100"/>
                  </a:cubicBezTo>
                  <a:cubicBezTo>
                    <a:pt x="232935" y="784530"/>
                    <a:pt x="225099" y="752668"/>
                    <a:pt x="209550" y="742950"/>
                  </a:cubicBezTo>
                  <a:cubicBezTo>
                    <a:pt x="192522" y="732307"/>
                    <a:pt x="152400" y="723900"/>
                    <a:pt x="152400" y="723900"/>
                  </a:cubicBezTo>
                  <a:cubicBezTo>
                    <a:pt x="149225" y="714375"/>
                    <a:pt x="151045" y="701161"/>
                    <a:pt x="142875" y="695325"/>
                  </a:cubicBezTo>
                  <a:cubicBezTo>
                    <a:pt x="126535" y="683653"/>
                    <a:pt x="102433" y="687414"/>
                    <a:pt x="85725" y="676275"/>
                  </a:cubicBezTo>
                  <a:lnTo>
                    <a:pt x="57150" y="657225"/>
                  </a:lnTo>
                  <a:cubicBezTo>
                    <a:pt x="12700" y="590550"/>
                    <a:pt x="0" y="612775"/>
                    <a:pt x="47625" y="581025"/>
                  </a:cubicBezTo>
                  <a:cubicBezTo>
                    <a:pt x="53975" y="571500"/>
                    <a:pt x="56967" y="558517"/>
                    <a:pt x="66675" y="552450"/>
                  </a:cubicBezTo>
                  <a:cubicBezTo>
                    <a:pt x="83703" y="541807"/>
                    <a:pt x="107117" y="544539"/>
                    <a:pt x="123825" y="533400"/>
                  </a:cubicBezTo>
                  <a:cubicBezTo>
                    <a:pt x="133350" y="527050"/>
                    <a:pt x="142161" y="519470"/>
                    <a:pt x="152400" y="514350"/>
                  </a:cubicBezTo>
                  <a:cubicBezTo>
                    <a:pt x="161380" y="509860"/>
                    <a:pt x="172198" y="509701"/>
                    <a:pt x="180975" y="504825"/>
                  </a:cubicBezTo>
                  <a:cubicBezTo>
                    <a:pt x="200989" y="493706"/>
                    <a:pt x="219075" y="479425"/>
                    <a:pt x="238125" y="466725"/>
                  </a:cubicBezTo>
                  <a:lnTo>
                    <a:pt x="295275" y="428625"/>
                  </a:lnTo>
                  <a:cubicBezTo>
                    <a:pt x="304800" y="422275"/>
                    <a:pt x="312990" y="413195"/>
                    <a:pt x="323850" y="409575"/>
                  </a:cubicBezTo>
                  <a:cubicBezTo>
                    <a:pt x="333375" y="406400"/>
                    <a:pt x="343648" y="404926"/>
                    <a:pt x="352425" y="400050"/>
                  </a:cubicBezTo>
                  <a:cubicBezTo>
                    <a:pt x="372439" y="388931"/>
                    <a:pt x="409575" y="361950"/>
                    <a:pt x="409575" y="361950"/>
                  </a:cubicBezTo>
                  <a:cubicBezTo>
                    <a:pt x="415925" y="352425"/>
                    <a:pt x="424713" y="344133"/>
                    <a:pt x="428625" y="333375"/>
                  </a:cubicBezTo>
                  <a:cubicBezTo>
                    <a:pt x="445916" y="285826"/>
                    <a:pt x="450150" y="239849"/>
                    <a:pt x="457200" y="190500"/>
                  </a:cubicBezTo>
                  <a:cubicBezTo>
                    <a:pt x="454025" y="168275"/>
                    <a:pt x="452078" y="145840"/>
                    <a:pt x="447675" y="123825"/>
                  </a:cubicBezTo>
                  <a:cubicBezTo>
                    <a:pt x="445706" y="113980"/>
                    <a:pt x="438150" y="105290"/>
                    <a:pt x="438150" y="95250"/>
                  </a:cubicBezTo>
                  <a:cubicBezTo>
                    <a:pt x="438150" y="71309"/>
                    <a:pt x="457093" y="57363"/>
                    <a:pt x="466725" y="38100"/>
                  </a:cubicBezTo>
                  <a:cubicBezTo>
                    <a:pt x="471215" y="29120"/>
                    <a:pt x="469150" y="16625"/>
                    <a:pt x="476250" y="9525"/>
                  </a:cubicBezTo>
                  <a:cubicBezTo>
                    <a:pt x="483350" y="2425"/>
                    <a:pt x="495300" y="3175"/>
                    <a:pt x="504825" y="0"/>
                  </a:cubicBezTo>
                  <a:cubicBezTo>
                    <a:pt x="508000" y="9525"/>
                    <a:pt x="507250" y="21475"/>
                    <a:pt x="514350" y="28575"/>
                  </a:cubicBezTo>
                  <a:cubicBezTo>
                    <a:pt x="574415" y="88640"/>
                    <a:pt x="552165" y="52245"/>
                    <a:pt x="600075" y="76200"/>
                  </a:cubicBezTo>
                  <a:cubicBezTo>
                    <a:pt x="610314" y="81320"/>
                    <a:pt x="619125" y="88900"/>
                    <a:pt x="628650" y="95250"/>
                  </a:cubicBezTo>
                  <a:cubicBezTo>
                    <a:pt x="621835" y="129325"/>
                    <a:pt x="624601" y="146924"/>
                    <a:pt x="600075" y="171450"/>
                  </a:cubicBezTo>
                  <a:cubicBezTo>
                    <a:pt x="591980" y="179545"/>
                    <a:pt x="581025" y="184150"/>
                    <a:pt x="571500" y="190500"/>
                  </a:cubicBezTo>
                  <a:cubicBezTo>
                    <a:pt x="568325" y="200025"/>
                    <a:pt x="566465" y="210095"/>
                    <a:pt x="561975" y="219075"/>
                  </a:cubicBezTo>
                  <a:cubicBezTo>
                    <a:pt x="525046" y="292933"/>
                    <a:pt x="557341" y="204401"/>
                    <a:pt x="533400" y="276225"/>
                  </a:cubicBezTo>
                  <a:cubicBezTo>
                    <a:pt x="539750" y="295275"/>
                    <a:pt x="541311" y="316667"/>
                    <a:pt x="552450" y="333375"/>
                  </a:cubicBezTo>
                  <a:cubicBezTo>
                    <a:pt x="558800" y="342900"/>
                    <a:pt x="566380" y="351711"/>
                    <a:pt x="571500" y="361950"/>
                  </a:cubicBezTo>
                  <a:cubicBezTo>
                    <a:pt x="575990" y="370930"/>
                    <a:pt x="574753" y="382685"/>
                    <a:pt x="581025" y="390525"/>
                  </a:cubicBezTo>
                  <a:cubicBezTo>
                    <a:pt x="588176" y="399464"/>
                    <a:pt x="600075" y="403225"/>
                    <a:pt x="609600" y="409575"/>
                  </a:cubicBezTo>
                  <a:cubicBezTo>
                    <a:pt x="615950" y="419100"/>
                    <a:pt x="628650" y="426702"/>
                    <a:pt x="628650" y="438150"/>
                  </a:cubicBezTo>
                  <a:cubicBezTo>
                    <a:pt x="628650" y="449598"/>
                    <a:pt x="614720" y="456486"/>
                    <a:pt x="609600" y="466725"/>
                  </a:cubicBezTo>
                  <a:cubicBezTo>
                    <a:pt x="605110" y="475705"/>
                    <a:pt x="603250" y="485775"/>
                    <a:pt x="600075" y="495300"/>
                  </a:cubicBezTo>
                  <a:cubicBezTo>
                    <a:pt x="603542" y="523035"/>
                    <a:pt x="603360" y="613870"/>
                    <a:pt x="647700" y="628650"/>
                  </a:cubicBezTo>
                  <a:lnTo>
                    <a:pt x="676275" y="638175"/>
                  </a:lnTo>
                  <a:cubicBezTo>
                    <a:pt x="661987" y="695325"/>
                    <a:pt x="660400" y="676275"/>
                    <a:pt x="685800" y="752475"/>
                  </a:cubicBezTo>
                  <a:lnTo>
                    <a:pt x="704850" y="809625"/>
                  </a:lnTo>
                  <a:cubicBezTo>
                    <a:pt x="701675" y="831850"/>
                    <a:pt x="699728" y="854285"/>
                    <a:pt x="695325" y="876300"/>
                  </a:cubicBezTo>
                  <a:cubicBezTo>
                    <a:pt x="693356" y="886145"/>
                    <a:pt x="685800" y="894835"/>
                    <a:pt x="685800" y="904875"/>
                  </a:cubicBezTo>
                  <a:cubicBezTo>
                    <a:pt x="685800" y="924593"/>
                    <a:pt x="704743" y="947578"/>
                    <a:pt x="714375" y="962025"/>
                  </a:cubicBezTo>
                  <a:cubicBezTo>
                    <a:pt x="711200" y="971550"/>
                    <a:pt x="704850" y="980560"/>
                    <a:pt x="704850" y="990600"/>
                  </a:cubicBezTo>
                  <a:cubicBezTo>
                    <a:pt x="704850" y="1000640"/>
                    <a:pt x="724220" y="1017206"/>
                    <a:pt x="714375" y="1019175"/>
                  </a:cubicBezTo>
                  <a:cubicBezTo>
                    <a:pt x="694684" y="1023113"/>
                    <a:pt x="657225" y="1000125"/>
                    <a:pt x="657225" y="1000125"/>
                  </a:cubicBezTo>
                  <a:cubicBezTo>
                    <a:pt x="647700" y="1006475"/>
                    <a:pt x="639875" y="1021420"/>
                    <a:pt x="628650" y="1019175"/>
                  </a:cubicBezTo>
                  <a:cubicBezTo>
                    <a:pt x="583826" y="1010210"/>
                    <a:pt x="635374" y="951940"/>
                    <a:pt x="590550" y="1019175"/>
                  </a:cubicBezTo>
                  <a:cubicBezTo>
                    <a:pt x="581025" y="1016000"/>
                    <a:pt x="571879" y="1007999"/>
                    <a:pt x="561975" y="1009650"/>
                  </a:cubicBezTo>
                  <a:cubicBezTo>
                    <a:pt x="550683" y="1011532"/>
                    <a:pt x="544848" y="1028700"/>
                    <a:pt x="533400" y="1028700"/>
                  </a:cubicBezTo>
                  <a:cubicBezTo>
                    <a:pt x="513320" y="1028700"/>
                    <a:pt x="476250" y="1009650"/>
                    <a:pt x="476250" y="1009650"/>
                  </a:cubicBezTo>
                  <a:cubicBezTo>
                    <a:pt x="500420" y="937141"/>
                    <a:pt x="499238" y="972191"/>
                    <a:pt x="485775" y="904875"/>
                  </a:cubicBezTo>
                  <a:cubicBezTo>
                    <a:pt x="479425" y="914400"/>
                    <a:pt x="471845" y="923211"/>
                    <a:pt x="466725" y="933450"/>
                  </a:cubicBezTo>
                  <a:cubicBezTo>
                    <a:pt x="449249" y="968401"/>
                    <a:pt x="469251" y="963516"/>
                    <a:pt x="428625" y="990600"/>
                  </a:cubicBezTo>
                  <a:cubicBezTo>
                    <a:pt x="420271" y="996169"/>
                    <a:pt x="409030" y="995635"/>
                    <a:pt x="400050" y="1000125"/>
                  </a:cubicBezTo>
                  <a:cubicBezTo>
                    <a:pt x="368833" y="1015733"/>
                    <a:pt x="388937" y="1025525"/>
                    <a:pt x="381000" y="1019175"/>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34" name="Freeform 31"/>
            <p:cNvSpPr>
              <a:spLocks noChangeArrowheads="1"/>
            </p:cNvSpPr>
            <p:nvPr/>
          </p:nvSpPr>
          <p:spPr bwMode="auto">
            <a:xfrm>
              <a:off x="3302067" y="8856434"/>
              <a:ext cx="347228" cy="591488"/>
            </a:xfrm>
            <a:custGeom>
              <a:avLst/>
              <a:gdLst>
                <a:gd name="T0" fmla="*/ 0 w 495300"/>
                <a:gd name="T1" fmla="*/ 0 h 895350"/>
                <a:gd name="T2" fmla="*/ 0 w 495300"/>
                <a:gd name="T3" fmla="*/ 0 h 895350"/>
                <a:gd name="T4" fmla="*/ 0 w 495300"/>
                <a:gd name="T5" fmla="*/ 0 h 895350"/>
                <a:gd name="T6" fmla="*/ 0 w 495300"/>
                <a:gd name="T7" fmla="*/ 0 h 895350"/>
                <a:gd name="T8" fmla="*/ 0 w 495300"/>
                <a:gd name="T9" fmla="*/ 0 h 895350"/>
                <a:gd name="T10" fmla="*/ 0 w 495300"/>
                <a:gd name="T11" fmla="*/ 0 h 895350"/>
                <a:gd name="T12" fmla="*/ 0 w 495300"/>
                <a:gd name="T13" fmla="*/ 0 h 895350"/>
                <a:gd name="T14" fmla="*/ 0 w 495300"/>
                <a:gd name="T15" fmla="*/ 0 h 895350"/>
                <a:gd name="T16" fmla="*/ 0 w 495300"/>
                <a:gd name="T17" fmla="*/ 0 h 895350"/>
                <a:gd name="T18" fmla="*/ 0 w 495300"/>
                <a:gd name="T19" fmla="*/ 0 h 895350"/>
                <a:gd name="T20" fmla="*/ 0 w 495300"/>
                <a:gd name="T21" fmla="*/ 0 h 895350"/>
                <a:gd name="T22" fmla="*/ 0 w 495300"/>
                <a:gd name="T23" fmla="*/ 0 h 895350"/>
                <a:gd name="T24" fmla="*/ 0 w 495300"/>
                <a:gd name="T25" fmla="*/ 0 h 895350"/>
                <a:gd name="T26" fmla="*/ 0 w 495300"/>
                <a:gd name="T27" fmla="*/ 0 h 895350"/>
                <a:gd name="T28" fmla="*/ 0 w 495300"/>
                <a:gd name="T29" fmla="*/ 0 h 895350"/>
                <a:gd name="T30" fmla="*/ 0 w 495300"/>
                <a:gd name="T31" fmla="*/ 0 h 895350"/>
                <a:gd name="T32" fmla="*/ 0 w 495300"/>
                <a:gd name="T33" fmla="*/ 0 h 895350"/>
                <a:gd name="T34" fmla="*/ 0 w 495300"/>
                <a:gd name="T35" fmla="*/ 0 h 895350"/>
                <a:gd name="T36" fmla="*/ 0 w 495300"/>
                <a:gd name="T37" fmla="*/ 0 h 895350"/>
                <a:gd name="T38" fmla="*/ 0 w 495300"/>
                <a:gd name="T39" fmla="*/ 0 h 895350"/>
                <a:gd name="T40" fmla="*/ 0 w 495300"/>
                <a:gd name="T41" fmla="*/ 0 h 895350"/>
                <a:gd name="T42" fmla="*/ 0 w 495300"/>
                <a:gd name="T43" fmla="*/ 0 h 895350"/>
                <a:gd name="T44" fmla="*/ 0 w 495300"/>
                <a:gd name="T45" fmla="*/ 0 h 895350"/>
                <a:gd name="T46" fmla="*/ 0 w 495300"/>
                <a:gd name="T47" fmla="*/ 0 h 895350"/>
                <a:gd name="T48" fmla="*/ 0 w 495300"/>
                <a:gd name="T49" fmla="*/ 0 h 895350"/>
                <a:gd name="T50" fmla="*/ 0 w 495300"/>
                <a:gd name="T51" fmla="*/ 0 h 895350"/>
                <a:gd name="T52" fmla="*/ 0 w 495300"/>
                <a:gd name="T53" fmla="*/ 0 h 895350"/>
                <a:gd name="T54" fmla="*/ 0 w 495300"/>
                <a:gd name="T55" fmla="*/ 0 h 895350"/>
                <a:gd name="T56" fmla="*/ 0 w 495300"/>
                <a:gd name="T57" fmla="*/ 0 h 895350"/>
                <a:gd name="T58" fmla="*/ 0 w 495300"/>
                <a:gd name="T59" fmla="*/ 0 h 895350"/>
                <a:gd name="T60" fmla="*/ 0 w 495300"/>
                <a:gd name="T61" fmla="*/ 0 h 895350"/>
                <a:gd name="T62" fmla="*/ 0 w 495300"/>
                <a:gd name="T63" fmla="*/ 0 h 895350"/>
                <a:gd name="T64" fmla="*/ 0 w 495300"/>
                <a:gd name="T65" fmla="*/ 0 h 895350"/>
                <a:gd name="T66" fmla="*/ 0 w 495300"/>
                <a:gd name="T67" fmla="*/ 0 h 895350"/>
                <a:gd name="T68" fmla="*/ 0 w 495300"/>
                <a:gd name="T69" fmla="*/ 0 h 895350"/>
                <a:gd name="T70" fmla="*/ 0 w 495300"/>
                <a:gd name="T71" fmla="*/ 0 h 895350"/>
                <a:gd name="T72" fmla="*/ 0 w 495300"/>
                <a:gd name="T73" fmla="*/ 0 h 895350"/>
                <a:gd name="T74" fmla="*/ 0 w 495300"/>
                <a:gd name="T75" fmla="*/ 0 h 895350"/>
                <a:gd name="T76" fmla="*/ 0 w 495300"/>
                <a:gd name="T77" fmla="*/ 0 h 895350"/>
                <a:gd name="T78" fmla="*/ 0 w 495300"/>
                <a:gd name="T79" fmla="*/ 0 h 895350"/>
                <a:gd name="T80" fmla="*/ 0 w 495300"/>
                <a:gd name="T81" fmla="*/ 0 h 895350"/>
                <a:gd name="T82" fmla="*/ 0 w 495300"/>
                <a:gd name="T83" fmla="*/ 0 h 895350"/>
                <a:gd name="T84" fmla="*/ 0 w 495300"/>
                <a:gd name="T85" fmla="*/ 0 h 895350"/>
                <a:gd name="T86" fmla="*/ 0 w 495300"/>
                <a:gd name="T87" fmla="*/ 0 h 895350"/>
                <a:gd name="T88" fmla="*/ 0 w 495300"/>
                <a:gd name="T89" fmla="*/ 0 h 89535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95300"/>
                <a:gd name="T136" fmla="*/ 0 h 895350"/>
                <a:gd name="T137" fmla="*/ 495300 w 495300"/>
                <a:gd name="T138" fmla="*/ 895350 h 89535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95300" h="895350">
                  <a:moveTo>
                    <a:pt x="476250" y="581025"/>
                  </a:moveTo>
                  <a:cubicBezTo>
                    <a:pt x="477837" y="608012"/>
                    <a:pt x="482084" y="625555"/>
                    <a:pt x="485775" y="647700"/>
                  </a:cubicBezTo>
                  <a:cubicBezTo>
                    <a:pt x="488437" y="663669"/>
                    <a:pt x="495300" y="679136"/>
                    <a:pt x="495300" y="695325"/>
                  </a:cubicBezTo>
                  <a:cubicBezTo>
                    <a:pt x="495300" y="708416"/>
                    <a:pt x="489371" y="720838"/>
                    <a:pt x="485775" y="733425"/>
                  </a:cubicBezTo>
                  <a:cubicBezTo>
                    <a:pt x="483017" y="743079"/>
                    <a:pt x="483350" y="754900"/>
                    <a:pt x="476250" y="762000"/>
                  </a:cubicBezTo>
                  <a:cubicBezTo>
                    <a:pt x="460061" y="778189"/>
                    <a:pt x="438150" y="787400"/>
                    <a:pt x="419100" y="800100"/>
                  </a:cubicBezTo>
                  <a:cubicBezTo>
                    <a:pt x="409575" y="806450"/>
                    <a:pt x="401385" y="815530"/>
                    <a:pt x="390525" y="819150"/>
                  </a:cubicBezTo>
                  <a:cubicBezTo>
                    <a:pt x="371475" y="825500"/>
                    <a:pt x="350083" y="827061"/>
                    <a:pt x="333375" y="838200"/>
                  </a:cubicBezTo>
                  <a:cubicBezTo>
                    <a:pt x="314325" y="850900"/>
                    <a:pt x="297945" y="869060"/>
                    <a:pt x="276225" y="876300"/>
                  </a:cubicBezTo>
                  <a:lnTo>
                    <a:pt x="219075" y="895350"/>
                  </a:lnTo>
                  <a:cubicBezTo>
                    <a:pt x="218490" y="895253"/>
                    <a:pt x="145691" y="886173"/>
                    <a:pt x="133350" y="876300"/>
                  </a:cubicBezTo>
                  <a:cubicBezTo>
                    <a:pt x="105656" y="854145"/>
                    <a:pt x="113544" y="818017"/>
                    <a:pt x="95250" y="790575"/>
                  </a:cubicBezTo>
                  <a:lnTo>
                    <a:pt x="76200" y="762000"/>
                  </a:lnTo>
                  <a:cubicBezTo>
                    <a:pt x="73103" y="746515"/>
                    <a:pt x="57150" y="669412"/>
                    <a:pt x="57150" y="657225"/>
                  </a:cubicBezTo>
                  <a:cubicBezTo>
                    <a:pt x="57150" y="637912"/>
                    <a:pt x="63500" y="619125"/>
                    <a:pt x="66675" y="600075"/>
                  </a:cubicBezTo>
                  <a:cubicBezTo>
                    <a:pt x="44005" y="532065"/>
                    <a:pt x="58764" y="559633"/>
                    <a:pt x="28575" y="514350"/>
                  </a:cubicBezTo>
                  <a:cubicBezTo>
                    <a:pt x="31750" y="498475"/>
                    <a:pt x="34588" y="482529"/>
                    <a:pt x="38100" y="466725"/>
                  </a:cubicBezTo>
                  <a:cubicBezTo>
                    <a:pt x="40940" y="453946"/>
                    <a:pt x="49476" y="441584"/>
                    <a:pt x="47625" y="428625"/>
                  </a:cubicBezTo>
                  <a:cubicBezTo>
                    <a:pt x="46006" y="417292"/>
                    <a:pt x="33224" y="410511"/>
                    <a:pt x="28575" y="400050"/>
                  </a:cubicBezTo>
                  <a:cubicBezTo>
                    <a:pt x="15324" y="370235"/>
                    <a:pt x="7916" y="336465"/>
                    <a:pt x="0" y="304800"/>
                  </a:cubicBezTo>
                  <a:cubicBezTo>
                    <a:pt x="6350" y="295275"/>
                    <a:pt x="10955" y="284320"/>
                    <a:pt x="19050" y="276225"/>
                  </a:cubicBezTo>
                  <a:cubicBezTo>
                    <a:pt x="82550" y="212725"/>
                    <a:pt x="15875" y="304800"/>
                    <a:pt x="66675" y="228600"/>
                  </a:cubicBezTo>
                  <a:cubicBezTo>
                    <a:pt x="57150" y="222250"/>
                    <a:pt x="45251" y="218489"/>
                    <a:pt x="38100" y="209550"/>
                  </a:cubicBezTo>
                  <a:cubicBezTo>
                    <a:pt x="31828" y="201710"/>
                    <a:pt x="20221" y="186544"/>
                    <a:pt x="28575" y="180975"/>
                  </a:cubicBezTo>
                  <a:cubicBezTo>
                    <a:pt x="47255" y="168522"/>
                    <a:pt x="73025" y="174625"/>
                    <a:pt x="95250" y="171450"/>
                  </a:cubicBezTo>
                  <a:cubicBezTo>
                    <a:pt x="98425" y="161925"/>
                    <a:pt x="104775" y="152915"/>
                    <a:pt x="104775" y="142875"/>
                  </a:cubicBezTo>
                  <a:cubicBezTo>
                    <a:pt x="104775" y="126686"/>
                    <a:pt x="98762" y="111054"/>
                    <a:pt x="95250" y="95250"/>
                  </a:cubicBezTo>
                  <a:cubicBezTo>
                    <a:pt x="87277" y="59370"/>
                    <a:pt x="86807" y="60396"/>
                    <a:pt x="76200" y="28575"/>
                  </a:cubicBezTo>
                  <a:cubicBezTo>
                    <a:pt x="79375" y="19050"/>
                    <a:pt x="75685" y="0"/>
                    <a:pt x="85725" y="0"/>
                  </a:cubicBezTo>
                  <a:cubicBezTo>
                    <a:pt x="99195" y="0"/>
                    <a:pt x="102525" y="22033"/>
                    <a:pt x="114300" y="28575"/>
                  </a:cubicBezTo>
                  <a:cubicBezTo>
                    <a:pt x="131853" y="38327"/>
                    <a:pt x="171450" y="47625"/>
                    <a:pt x="171450" y="47625"/>
                  </a:cubicBezTo>
                  <a:cubicBezTo>
                    <a:pt x="174625" y="57150"/>
                    <a:pt x="173875" y="69100"/>
                    <a:pt x="180975" y="76200"/>
                  </a:cubicBezTo>
                  <a:cubicBezTo>
                    <a:pt x="197164" y="92389"/>
                    <a:pt x="238125" y="114300"/>
                    <a:pt x="238125" y="114300"/>
                  </a:cubicBezTo>
                  <a:cubicBezTo>
                    <a:pt x="244475" y="123825"/>
                    <a:pt x="252055" y="132636"/>
                    <a:pt x="257175" y="142875"/>
                  </a:cubicBezTo>
                  <a:cubicBezTo>
                    <a:pt x="261665" y="151855"/>
                    <a:pt x="260428" y="163610"/>
                    <a:pt x="266700" y="171450"/>
                  </a:cubicBezTo>
                  <a:cubicBezTo>
                    <a:pt x="273851" y="180389"/>
                    <a:pt x="285750" y="184150"/>
                    <a:pt x="295275" y="190500"/>
                  </a:cubicBezTo>
                  <a:cubicBezTo>
                    <a:pt x="301625" y="200025"/>
                    <a:pt x="304617" y="213008"/>
                    <a:pt x="314325" y="219075"/>
                  </a:cubicBezTo>
                  <a:cubicBezTo>
                    <a:pt x="331353" y="229718"/>
                    <a:pt x="371475" y="238125"/>
                    <a:pt x="371475" y="238125"/>
                  </a:cubicBezTo>
                  <a:lnTo>
                    <a:pt x="400050" y="323850"/>
                  </a:lnTo>
                  <a:cubicBezTo>
                    <a:pt x="403225" y="333375"/>
                    <a:pt x="404006" y="344071"/>
                    <a:pt x="409575" y="352425"/>
                  </a:cubicBezTo>
                  <a:lnTo>
                    <a:pt x="428625" y="381000"/>
                  </a:lnTo>
                  <a:cubicBezTo>
                    <a:pt x="425450" y="390525"/>
                    <a:pt x="419100" y="399535"/>
                    <a:pt x="419100" y="409575"/>
                  </a:cubicBezTo>
                  <a:cubicBezTo>
                    <a:pt x="419100" y="440247"/>
                    <a:pt x="435259" y="442572"/>
                    <a:pt x="457200" y="457200"/>
                  </a:cubicBezTo>
                  <a:cubicBezTo>
                    <a:pt x="463550" y="466725"/>
                    <a:pt x="475372" y="474361"/>
                    <a:pt x="476250" y="485775"/>
                  </a:cubicBezTo>
                  <a:cubicBezTo>
                    <a:pt x="482948" y="572844"/>
                    <a:pt x="474663" y="554038"/>
                    <a:pt x="476250" y="581025"/>
                  </a:cubicBezTo>
                  <a:close/>
                </a:path>
              </a:pathLst>
            </a:custGeom>
            <a:grpFill/>
            <a:ln w="28575" algn="ctr">
              <a:solidFill>
                <a:schemeClr val="bg1">
                  <a:lumMod val="95000"/>
                </a:schemeClr>
              </a:solidFill>
              <a:round/>
              <a:headEnd type="none" w="sm" len="sm"/>
              <a:tailEnd type="none" w="sm" len="sm"/>
            </a:ln>
          </p:spPr>
          <p:txBody>
            <a:bodyPr/>
            <a:lstStyle/>
            <a:p>
              <a:pPr>
                <a:defRPr/>
              </a:pPr>
              <a:endParaRPr lang="en-GB" dirty="0">
                <a:solidFill>
                  <a:srgbClr val="626469"/>
                </a:solidFill>
              </a:endParaRPr>
            </a:p>
          </p:txBody>
        </p:sp>
        <p:sp>
          <p:nvSpPr>
            <p:cNvPr id="35" name="Freeform 32"/>
            <p:cNvSpPr>
              <a:spLocks noChangeArrowheads="1"/>
            </p:cNvSpPr>
            <p:nvPr/>
          </p:nvSpPr>
          <p:spPr bwMode="auto">
            <a:xfrm>
              <a:off x="2760837" y="8263520"/>
              <a:ext cx="673202" cy="900088"/>
            </a:xfrm>
            <a:custGeom>
              <a:avLst/>
              <a:gdLst>
                <a:gd name="T0" fmla="*/ 0 w 897498"/>
                <a:gd name="T1" fmla="*/ 0 h 1200150"/>
                <a:gd name="T2" fmla="*/ 897498 w 897498"/>
                <a:gd name="T3" fmla="*/ 1200150 h 1200150"/>
              </a:gdLst>
              <a:ahLst/>
              <a:cxnLst/>
              <a:rect l="T0" t="T1" r="T2" b="T3"/>
              <a:pathLst>
                <a:path w="897498" h="1200150">
                  <a:moveTo>
                    <a:pt x="188158" y="1133475"/>
                  </a:moveTo>
                  <a:cubicBezTo>
                    <a:pt x="191333" y="1125537"/>
                    <a:pt x="199879" y="1113694"/>
                    <a:pt x="207208" y="1104900"/>
                  </a:cubicBezTo>
                  <a:cubicBezTo>
                    <a:pt x="215832" y="1094552"/>
                    <a:pt x="231523" y="1089104"/>
                    <a:pt x="235783" y="1076325"/>
                  </a:cubicBezTo>
                  <a:cubicBezTo>
                    <a:pt x="240165" y="1063180"/>
                    <a:pt x="211844" y="1026129"/>
                    <a:pt x="207208" y="1019175"/>
                  </a:cubicBezTo>
                  <a:cubicBezTo>
                    <a:pt x="210866" y="997225"/>
                    <a:pt x="214534" y="956898"/>
                    <a:pt x="226258" y="933450"/>
                  </a:cubicBezTo>
                  <a:cubicBezTo>
                    <a:pt x="231378" y="923211"/>
                    <a:pt x="238958" y="914400"/>
                    <a:pt x="245308" y="904875"/>
                  </a:cubicBezTo>
                  <a:cubicBezTo>
                    <a:pt x="242133" y="892175"/>
                    <a:pt x="240940" y="878807"/>
                    <a:pt x="235783" y="866775"/>
                  </a:cubicBezTo>
                  <a:cubicBezTo>
                    <a:pt x="231274" y="856253"/>
                    <a:pt x="221853" y="848439"/>
                    <a:pt x="216733" y="838200"/>
                  </a:cubicBezTo>
                  <a:cubicBezTo>
                    <a:pt x="212243" y="829220"/>
                    <a:pt x="210383" y="819150"/>
                    <a:pt x="207208" y="809625"/>
                  </a:cubicBezTo>
                  <a:cubicBezTo>
                    <a:pt x="210383" y="800100"/>
                    <a:pt x="213975" y="790704"/>
                    <a:pt x="216733" y="781050"/>
                  </a:cubicBezTo>
                  <a:cubicBezTo>
                    <a:pt x="223388" y="757757"/>
                    <a:pt x="234466" y="736542"/>
                    <a:pt x="216733" y="714375"/>
                  </a:cubicBezTo>
                  <a:cubicBezTo>
                    <a:pt x="209582" y="705436"/>
                    <a:pt x="197683" y="701675"/>
                    <a:pt x="188158" y="695325"/>
                  </a:cubicBezTo>
                  <a:cubicBezTo>
                    <a:pt x="181808" y="685800"/>
                    <a:pt x="178047" y="673901"/>
                    <a:pt x="169108" y="666750"/>
                  </a:cubicBezTo>
                  <a:cubicBezTo>
                    <a:pt x="122926" y="629805"/>
                    <a:pt x="151790" y="690995"/>
                    <a:pt x="131008" y="628650"/>
                  </a:cubicBezTo>
                  <a:cubicBezTo>
                    <a:pt x="134183" y="619125"/>
                    <a:pt x="140533" y="610115"/>
                    <a:pt x="140533" y="600075"/>
                  </a:cubicBezTo>
                  <a:cubicBezTo>
                    <a:pt x="140533" y="580357"/>
                    <a:pt x="121590" y="557372"/>
                    <a:pt x="111958" y="542925"/>
                  </a:cubicBezTo>
                  <a:cubicBezTo>
                    <a:pt x="115133" y="533400"/>
                    <a:pt x="123134" y="524254"/>
                    <a:pt x="121483" y="514350"/>
                  </a:cubicBezTo>
                  <a:cubicBezTo>
                    <a:pt x="115644" y="479317"/>
                    <a:pt x="96822" y="487732"/>
                    <a:pt x="73858" y="476250"/>
                  </a:cubicBezTo>
                  <a:cubicBezTo>
                    <a:pt x="0" y="439321"/>
                    <a:pt x="88532" y="471616"/>
                    <a:pt x="16708" y="447675"/>
                  </a:cubicBezTo>
                  <a:cubicBezTo>
                    <a:pt x="13533" y="438150"/>
                    <a:pt x="3454" y="428422"/>
                    <a:pt x="7183" y="419100"/>
                  </a:cubicBezTo>
                  <a:cubicBezTo>
                    <a:pt x="23225" y="378995"/>
                    <a:pt x="48291" y="408405"/>
                    <a:pt x="64333" y="419100"/>
                  </a:cubicBezTo>
                  <a:cubicBezTo>
                    <a:pt x="83383" y="412750"/>
                    <a:pt x="107284" y="414249"/>
                    <a:pt x="121483" y="400050"/>
                  </a:cubicBezTo>
                  <a:cubicBezTo>
                    <a:pt x="131008" y="390525"/>
                    <a:pt x="137551" y="376478"/>
                    <a:pt x="150058" y="371475"/>
                  </a:cubicBezTo>
                  <a:cubicBezTo>
                    <a:pt x="170903" y="363137"/>
                    <a:pt x="194508" y="365125"/>
                    <a:pt x="216733" y="361950"/>
                  </a:cubicBezTo>
                  <a:cubicBezTo>
                    <a:pt x="226258" y="355600"/>
                    <a:pt x="234016" y="344782"/>
                    <a:pt x="245308" y="342900"/>
                  </a:cubicBezTo>
                  <a:cubicBezTo>
                    <a:pt x="255212" y="341249"/>
                    <a:pt x="264358" y="355600"/>
                    <a:pt x="273883" y="352425"/>
                  </a:cubicBezTo>
                  <a:cubicBezTo>
                    <a:pt x="295603" y="345185"/>
                    <a:pt x="331033" y="314325"/>
                    <a:pt x="331033" y="314325"/>
                  </a:cubicBezTo>
                  <a:cubicBezTo>
                    <a:pt x="337383" y="304800"/>
                    <a:pt x="351965" y="297042"/>
                    <a:pt x="350083" y="285750"/>
                  </a:cubicBezTo>
                  <a:cubicBezTo>
                    <a:pt x="347868" y="272463"/>
                    <a:pt x="330132" y="267523"/>
                    <a:pt x="321508" y="257175"/>
                  </a:cubicBezTo>
                  <a:cubicBezTo>
                    <a:pt x="314179" y="248381"/>
                    <a:pt x="308808" y="238125"/>
                    <a:pt x="302458" y="228600"/>
                  </a:cubicBezTo>
                  <a:lnTo>
                    <a:pt x="321508" y="171450"/>
                  </a:lnTo>
                  <a:cubicBezTo>
                    <a:pt x="324683" y="161925"/>
                    <a:pt x="322679" y="148444"/>
                    <a:pt x="331033" y="142875"/>
                  </a:cubicBezTo>
                  <a:lnTo>
                    <a:pt x="359608" y="123825"/>
                  </a:lnTo>
                  <a:cubicBezTo>
                    <a:pt x="369133" y="127000"/>
                    <a:pt x="380343" y="127078"/>
                    <a:pt x="388183" y="133350"/>
                  </a:cubicBezTo>
                  <a:cubicBezTo>
                    <a:pt x="397122" y="140501"/>
                    <a:pt x="396604" y="157673"/>
                    <a:pt x="407233" y="161925"/>
                  </a:cubicBezTo>
                  <a:cubicBezTo>
                    <a:pt x="416555" y="165654"/>
                    <a:pt x="426283" y="155575"/>
                    <a:pt x="435808" y="152400"/>
                  </a:cubicBezTo>
                  <a:cubicBezTo>
                    <a:pt x="445333" y="158750"/>
                    <a:pt x="453091" y="173332"/>
                    <a:pt x="464383" y="171450"/>
                  </a:cubicBezTo>
                  <a:cubicBezTo>
                    <a:pt x="477670" y="169235"/>
                    <a:pt x="484688" y="153508"/>
                    <a:pt x="492958" y="142875"/>
                  </a:cubicBezTo>
                  <a:cubicBezTo>
                    <a:pt x="507014" y="124803"/>
                    <a:pt x="512008" y="98425"/>
                    <a:pt x="531058" y="85725"/>
                  </a:cubicBezTo>
                  <a:cubicBezTo>
                    <a:pt x="580932" y="52476"/>
                    <a:pt x="548274" y="68095"/>
                    <a:pt x="635833" y="57150"/>
                  </a:cubicBezTo>
                  <a:cubicBezTo>
                    <a:pt x="645358" y="53975"/>
                    <a:pt x="655428" y="52115"/>
                    <a:pt x="664408" y="47625"/>
                  </a:cubicBezTo>
                  <a:cubicBezTo>
                    <a:pt x="674647" y="42505"/>
                    <a:pt x="682522" y="33224"/>
                    <a:pt x="692983" y="28575"/>
                  </a:cubicBezTo>
                  <a:cubicBezTo>
                    <a:pt x="711333" y="20420"/>
                    <a:pt x="750133" y="9525"/>
                    <a:pt x="750133" y="9525"/>
                  </a:cubicBezTo>
                  <a:cubicBezTo>
                    <a:pt x="795416" y="39714"/>
                    <a:pt x="767848" y="32195"/>
                    <a:pt x="835858" y="9525"/>
                  </a:cubicBezTo>
                  <a:lnTo>
                    <a:pt x="864433" y="0"/>
                  </a:lnTo>
                  <a:cubicBezTo>
                    <a:pt x="873958" y="3175"/>
                    <a:pt x="888518" y="545"/>
                    <a:pt x="893008" y="9525"/>
                  </a:cubicBezTo>
                  <a:cubicBezTo>
                    <a:pt x="897498" y="18505"/>
                    <a:pt x="883483" y="28060"/>
                    <a:pt x="883483" y="38100"/>
                  </a:cubicBezTo>
                  <a:cubicBezTo>
                    <a:pt x="883483" y="54289"/>
                    <a:pt x="889833" y="69850"/>
                    <a:pt x="893008" y="85725"/>
                  </a:cubicBezTo>
                  <a:lnTo>
                    <a:pt x="854908" y="200025"/>
                  </a:lnTo>
                  <a:cubicBezTo>
                    <a:pt x="851733" y="209550"/>
                    <a:pt x="850952" y="220246"/>
                    <a:pt x="845383" y="228600"/>
                  </a:cubicBezTo>
                  <a:cubicBezTo>
                    <a:pt x="818861" y="268383"/>
                    <a:pt x="834428" y="249080"/>
                    <a:pt x="797758" y="285750"/>
                  </a:cubicBezTo>
                  <a:lnTo>
                    <a:pt x="778708" y="342900"/>
                  </a:lnTo>
                  <a:lnTo>
                    <a:pt x="769183" y="371475"/>
                  </a:lnTo>
                  <a:cubicBezTo>
                    <a:pt x="772358" y="387350"/>
                    <a:pt x="774448" y="403481"/>
                    <a:pt x="778708" y="419100"/>
                  </a:cubicBezTo>
                  <a:cubicBezTo>
                    <a:pt x="783992" y="438473"/>
                    <a:pt x="797758" y="476250"/>
                    <a:pt x="797758" y="476250"/>
                  </a:cubicBezTo>
                  <a:cubicBezTo>
                    <a:pt x="783363" y="533831"/>
                    <a:pt x="784093" y="501931"/>
                    <a:pt x="807283" y="571500"/>
                  </a:cubicBezTo>
                  <a:lnTo>
                    <a:pt x="816808" y="600075"/>
                  </a:lnTo>
                  <a:cubicBezTo>
                    <a:pt x="794583" y="666750"/>
                    <a:pt x="791408" y="638175"/>
                    <a:pt x="807283" y="685800"/>
                  </a:cubicBezTo>
                  <a:cubicBezTo>
                    <a:pt x="801335" y="703643"/>
                    <a:pt x="797906" y="733425"/>
                    <a:pt x="769183" y="733425"/>
                  </a:cubicBezTo>
                  <a:cubicBezTo>
                    <a:pt x="749103" y="733425"/>
                    <a:pt x="712033" y="714375"/>
                    <a:pt x="712033" y="714375"/>
                  </a:cubicBezTo>
                  <a:cubicBezTo>
                    <a:pt x="699333" y="717550"/>
                    <a:pt x="684155" y="715722"/>
                    <a:pt x="673933" y="723900"/>
                  </a:cubicBezTo>
                  <a:cubicBezTo>
                    <a:pt x="666093" y="730172"/>
                    <a:pt x="668898" y="743495"/>
                    <a:pt x="664408" y="752475"/>
                  </a:cubicBezTo>
                  <a:cubicBezTo>
                    <a:pt x="648533" y="784225"/>
                    <a:pt x="645358" y="781050"/>
                    <a:pt x="616783" y="800100"/>
                  </a:cubicBezTo>
                  <a:cubicBezTo>
                    <a:pt x="613608" y="809625"/>
                    <a:pt x="613530" y="820835"/>
                    <a:pt x="607258" y="828675"/>
                  </a:cubicBezTo>
                  <a:cubicBezTo>
                    <a:pt x="600107" y="837614"/>
                    <a:pt x="582303" y="836865"/>
                    <a:pt x="578683" y="847725"/>
                  </a:cubicBezTo>
                  <a:cubicBezTo>
                    <a:pt x="576690" y="853705"/>
                    <a:pt x="594770" y="905511"/>
                    <a:pt x="597733" y="914400"/>
                  </a:cubicBezTo>
                  <a:cubicBezTo>
                    <a:pt x="594558" y="923925"/>
                    <a:pt x="597188" y="938485"/>
                    <a:pt x="588208" y="942975"/>
                  </a:cubicBezTo>
                  <a:cubicBezTo>
                    <a:pt x="579228" y="947465"/>
                    <a:pt x="569537" y="931799"/>
                    <a:pt x="559633" y="933450"/>
                  </a:cubicBezTo>
                  <a:cubicBezTo>
                    <a:pt x="548341" y="935332"/>
                    <a:pt x="541297" y="947380"/>
                    <a:pt x="531058" y="952500"/>
                  </a:cubicBezTo>
                  <a:cubicBezTo>
                    <a:pt x="522078" y="956990"/>
                    <a:pt x="511463" y="957535"/>
                    <a:pt x="502483" y="962025"/>
                  </a:cubicBezTo>
                  <a:cubicBezTo>
                    <a:pt x="428625" y="998954"/>
                    <a:pt x="517157" y="966659"/>
                    <a:pt x="445333" y="990600"/>
                  </a:cubicBezTo>
                  <a:cubicBezTo>
                    <a:pt x="420314" y="1028129"/>
                    <a:pt x="420835" y="1021917"/>
                    <a:pt x="407233" y="1076325"/>
                  </a:cubicBezTo>
                  <a:cubicBezTo>
                    <a:pt x="401513" y="1099204"/>
                    <a:pt x="399214" y="1126555"/>
                    <a:pt x="378658" y="1143000"/>
                  </a:cubicBezTo>
                  <a:cubicBezTo>
                    <a:pt x="370818" y="1149272"/>
                    <a:pt x="359608" y="1149350"/>
                    <a:pt x="350083" y="1152525"/>
                  </a:cubicBezTo>
                  <a:cubicBezTo>
                    <a:pt x="343733" y="1162050"/>
                    <a:pt x="340741" y="1175033"/>
                    <a:pt x="331033" y="1181100"/>
                  </a:cubicBezTo>
                  <a:cubicBezTo>
                    <a:pt x="314005" y="1191743"/>
                    <a:pt x="273883" y="1200150"/>
                    <a:pt x="273883" y="1200150"/>
                  </a:cubicBezTo>
                  <a:cubicBezTo>
                    <a:pt x="203954" y="1176840"/>
                    <a:pt x="230932" y="1195299"/>
                    <a:pt x="188158" y="1152525"/>
                  </a:cubicBezTo>
                  <a:cubicBezTo>
                    <a:pt x="177629" y="1120938"/>
                    <a:pt x="184983" y="1141413"/>
                    <a:pt x="188158" y="1133475"/>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36" name="Freeform 33"/>
            <p:cNvSpPr>
              <a:spLocks noChangeArrowheads="1"/>
            </p:cNvSpPr>
            <p:nvPr/>
          </p:nvSpPr>
          <p:spPr bwMode="auto">
            <a:xfrm>
              <a:off x="2532271" y="8372490"/>
              <a:ext cx="419710" cy="743908"/>
            </a:xfrm>
            <a:custGeom>
              <a:avLst/>
              <a:gdLst>
                <a:gd name="T0" fmla="*/ 0 w 559550"/>
                <a:gd name="T1" fmla="*/ 0 h 991904"/>
                <a:gd name="T2" fmla="*/ 0 w 559550"/>
                <a:gd name="T3" fmla="*/ 0 h 991904"/>
                <a:gd name="T4" fmla="*/ 0 w 559550"/>
                <a:gd name="T5" fmla="*/ 0 h 991904"/>
                <a:gd name="T6" fmla="*/ 0 w 559550"/>
                <a:gd name="T7" fmla="*/ 0 h 991904"/>
                <a:gd name="T8" fmla="*/ 0 w 559550"/>
                <a:gd name="T9" fmla="*/ 0 h 991904"/>
                <a:gd name="T10" fmla="*/ 0 w 559550"/>
                <a:gd name="T11" fmla="*/ 0 h 991904"/>
                <a:gd name="T12" fmla="*/ 0 w 559550"/>
                <a:gd name="T13" fmla="*/ 0 h 991904"/>
                <a:gd name="T14" fmla="*/ 0 w 559550"/>
                <a:gd name="T15" fmla="*/ 0 h 991904"/>
                <a:gd name="T16" fmla="*/ 0 w 559550"/>
                <a:gd name="T17" fmla="*/ 0 h 991904"/>
                <a:gd name="T18" fmla="*/ 0 w 559550"/>
                <a:gd name="T19" fmla="*/ 0 h 991904"/>
                <a:gd name="T20" fmla="*/ 0 w 559550"/>
                <a:gd name="T21" fmla="*/ 0 h 991904"/>
                <a:gd name="T22" fmla="*/ 0 w 559550"/>
                <a:gd name="T23" fmla="*/ 0 h 991904"/>
                <a:gd name="T24" fmla="*/ 0 w 559550"/>
                <a:gd name="T25" fmla="*/ 0 h 991904"/>
                <a:gd name="T26" fmla="*/ 0 w 559550"/>
                <a:gd name="T27" fmla="*/ 0 h 991904"/>
                <a:gd name="T28" fmla="*/ 0 w 559550"/>
                <a:gd name="T29" fmla="*/ 0 h 991904"/>
                <a:gd name="T30" fmla="*/ 0 w 559550"/>
                <a:gd name="T31" fmla="*/ 0 h 991904"/>
                <a:gd name="T32" fmla="*/ 0 w 559550"/>
                <a:gd name="T33" fmla="*/ 0 h 991904"/>
                <a:gd name="T34" fmla="*/ 0 w 559550"/>
                <a:gd name="T35" fmla="*/ 0 h 991904"/>
                <a:gd name="T36" fmla="*/ 0 w 559550"/>
                <a:gd name="T37" fmla="*/ 0 h 991904"/>
                <a:gd name="T38" fmla="*/ 0 w 559550"/>
                <a:gd name="T39" fmla="*/ 0 h 991904"/>
                <a:gd name="T40" fmla="*/ 0 w 559550"/>
                <a:gd name="T41" fmla="*/ 0 h 991904"/>
                <a:gd name="T42" fmla="*/ 0 w 559550"/>
                <a:gd name="T43" fmla="*/ 0 h 991904"/>
                <a:gd name="T44" fmla="*/ 0 w 559550"/>
                <a:gd name="T45" fmla="*/ 0 h 991904"/>
                <a:gd name="T46" fmla="*/ 0 w 559550"/>
                <a:gd name="T47" fmla="*/ 0 h 991904"/>
                <a:gd name="T48" fmla="*/ 0 w 559550"/>
                <a:gd name="T49" fmla="*/ 0 h 991904"/>
                <a:gd name="T50" fmla="*/ 0 w 559550"/>
                <a:gd name="T51" fmla="*/ 0 h 991904"/>
                <a:gd name="T52" fmla="*/ 0 w 559550"/>
                <a:gd name="T53" fmla="*/ 0 h 991904"/>
                <a:gd name="T54" fmla="*/ 0 w 559550"/>
                <a:gd name="T55" fmla="*/ 0 h 991904"/>
                <a:gd name="T56" fmla="*/ 0 w 559550"/>
                <a:gd name="T57" fmla="*/ 0 h 991904"/>
                <a:gd name="T58" fmla="*/ 0 w 559550"/>
                <a:gd name="T59" fmla="*/ 0 h 991904"/>
                <a:gd name="T60" fmla="*/ 0 w 559550"/>
                <a:gd name="T61" fmla="*/ 0 h 991904"/>
                <a:gd name="T62" fmla="*/ 0 w 559550"/>
                <a:gd name="T63" fmla="*/ 0 h 991904"/>
                <a:gd name="T64" fmla="*/ 0 w 559550"/>
                <a:gd name="T65" fmla="*/ 0 h 991904"/>
                <a:gd name="T66" fmla="*/ 0 w 559550"/>
                <a:gd name="T67" fmla="*/ 0 h 991904"/>
                <a:gd name="T68" fmla="*/ 0 w 559550"/>
                <a:gd name="T69" fmla="*/ 0 h 991904"/>
                <a:gd name="T70" fmla="*/ 0 w 559550"/>
                <a:gd name="T71" fmla="*/ 0 h 991904"/>
                <a:gd name="T72" fmla="*/ 0 w 559550"/>
                <a:gd name="T73" fmla="*/ 0 h 991904"/>
                <a:gd name="T74" fmla="*/ 0 w 559550"/>
                <a:gd name="T75" fmla="*/ 0 h 991904"/>
                <a:gd name="T76" fmla="*/ 0 w 559550"/>
                <a:gd name="T77" fmla="*/ 0 h 991904"/>
                <a:gd name="T78" fmla="*/ 0 w 559550"/>
                <a:gd name="T79" fmla="*/ 0 h 991904"/>
                <a:gd name="T80" fmla="*/ 0 w 559550"/>
                <a:gd name="T81" fmla="*/ 0 h 991904"/>
                <a:gd name="T82" fmla="*/ 0 w 559550"/>
                <a:gd name="T83" fmla="*/ 0 h 991904"/>
                <a:gd name="T84" fmla="*/ 0 w 559550"/>
                <a:gd name="T85" fmla="*/ 0 h 991904"/>
                <a:gd name="T86" fmla="*/ 0 w 559550"/>
                <a:gd name="T87" fmla="*/ 0 h 991904"/>
                <a:gd name="T88" fmla="*/ 0 w 559550"/>
                <a:gd name="T89" fmla="*/ 0 h 991904"/>
                <a:gd name="T90" fmla="*/ 0 w 559550"/>
                <a:gd name="T91" fmla="*/ 0 h 991904"/>
                <a:gd name="T92" fmla="*/ 0 w 559550"/>
                <a:gd name="T93" fmla="*/ 0 h 991904"/>
                <a:gd name="T94" fmla="*/ 0 w 559550"/>
                <a:gd name="T95" fmla="*/ 0 h 9919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59550"/>
                <a:gd name="T145" fmla="*/ 0 h 991904"/>
                <a:gd name="T146" fmla="*/ 559550 w 559550"/>
                <a:gd name="T147" fmla="*/ 991904 h 9919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59550" h="991904">
                  <a:moveTo>
                    <a:pt x="273800" y="530975"/>
                  </a:moveTo>
                  <a:cubicBezTo>
                    <a:pt x="228517" y="500786"/>
                    <a:pt x="248845" y="522785"/>
                    <a:pt x="226175" y="454775"/>
                  </a:cubicBezTo>
                  <a:lnTo>
                    <a:pt x="216650" y="426200"/>
                  </a:lnTo>
                  <a:cubicBezTo>
                    <a:pt x="232525" y="378575"/>
                    <a:pt x="229350" y="407150"/>
                    <a:pt x="207125" y="340475"/>
                  </a:cubicBezTo>
                  <a:cubicBezTo>
                    <a:pt x="203950" y="330950"/>
                    <a:pt x="204700" y="319000"/>
                    <a:pt x="197600" y="311900"/>
                  </a:cubicBezTo>
                  <a:cubicBezTo>
                    <a:pt x="188075" y="302375"/>
                    <a:pt x="177295" y="293958"/>
                    <a:pt x="169025" y="283325"/>
                  </a:cubicBezTo>
                  <a:cubicBezTo>
                    <a:pt x="109188" y="206392"/>
                    <a:pt x="157668" y="244004"/>
                    <a:pt x="102350" y="207125"/>
                  </a:cubicBezTo>
                  <a:cubicBezTo>
                    <a:pt x="72161" y="161842"/>
                    <a:pt x="86920" y="189410"/>
                    <a:pt x="64250" y="121400"/>
                  </a:cubicBezTo>
                  <a:cubicBezTo>
                    <a:pt x="61075" y="111875"/>
                    <a:pt x="60294" y="101179"/>
                    <a:pt x="54725" y="92825"/>
                  </a:cubicBezTo>
                  <a:cubicBezTo>
                    <a:pt x="42025" y="73775"/>
                    <a:pt x="23865" y="57395"/>
                    <a:pt x="16625" y="35675"/>
                  </a:cubicBezTo>
                  <a:cubicBezTo>
                    <a:pt x="13450" y="26150"/>
                    <a:pt x="0" y="14200"/>
                    <a:pt x="7100" y="7100"/>
                  </a:cubicBezTo>
                  <a:cubicBezTo>
                    <a:pt x="14200" y="0"/>
                    <a:pt x="26695" y="12135"/>
                    <a:pt x="35675" y="16625"/>
                  </a:cubicBezTo>
                  <a:cubicBezTo>
                    <a:pt x="109533" y="53554"/>
                    <a:pt x="21001" y="21259"/>
                    <a:pt x="92825" y="45200"/>
                  </a:cubicBezTo>
                  <a:lnTo>
                    <a:pt x="130925" y="102350"/>
                  </a:lnTo>
                  <a:cubicBezTo>
                    <a:pt x="148304" y="128418"/>
                    <a:pt x="148471" y="136607"/>
                    <a:pt x="178550" y="149975"/>
                  </a:cubicBezTo>
                  <a:cubicBezTo>
                    <a:pt x="196900" y="158130"/>
                    <a:pt x="218992" y="157886"/>
                    <a:pt x="235700" y="169025"/>
                  </a:cubicBezTo>
                  <a:cubicBezTo>
                    <a:pt x="254750" y="181725"/>
                    <a:pt x="271130" y="199885"/>
                    <a:pt x="292850" y="207125"/>
                  </a:cubicBezTo>
                  <a:lnTo>
                    <a:pt x="350000" y="226175"/>
                  </a:lnTo>
                  <a:cubicBezTo>
                    <a:pt x="346825" y="235700"/>
                    <a:pt x="340475" y="244710"/>
                    <a:pt x="340475" y="254750"/>
                  </a:cubicBezTo>
                  <a:cubicBezTo>
                    <a:pt x="340475" y="273053"/>
                    <a:pt x="353496" y="308982"/>
                    <a:pt x="369050" y="321425"/>
                  </a:cubicBezTo>
                  <a:cubicBezTo>
                    <a:pt x="376890" y="327697"/>
                    <a:pt x="388100" y="327775"/>
                    <a:pt x="397625" y="330950"/>
                  </a:cubicBezTo>
                  <a:cubicBezTo>
                    <a:pt x="410325" y="350000"/>
                    <a:pt x="428485" y="366380"/>
                    <a:pt x="435725" y="388100"/>
                  </a:cubicBezTo>
                  <a:lnTo>
                    <a:pt x="454775" y="445250"/>
                  </a:lnTo>
                  <a:cubicBezTo>
                    <a:pt x="451152" y="463364"/>
                    <a:pt x="435249" y="501924"/>
                    <a:pt x="454775" y="521450"/>
                  </a:cubicBezTo>
                  <a:cubicBezTo>
                    <a:pt x="461875" y="528550"/>
                    <a:pt x="473825" y="527800"/>
                    <a:pt x="483350" y="530975"/>
                  </a:cubicBezTo>
                  <a:cubicBezTo>
                    <a:pt x="489700" y="540500"/>
                    <a:pt x="494305" y="551455"/>
                    <a:pt x="502400" y="559550"/>
                  </a:cubicBezTo>
                  <a:cubicBezTo>
                    <a:pt x="510495" y="567645"/>
                    <a:pt x="523824" y="569661"/>
                    <a:pt x="530975" y="578600"/>
                  </a:cubicBezTo>
                  <a:cubicBezTo>
                    <a:pt x="537247" y="586440"/>
                    <a:pt x="537325" y="597650"/>
                    <a:pt x="540500" y="607175"/>
                  </a:cubicBezTo>
                  <a:cubicBezTo>
                    <a:pt x="534150" y="632575"/>
                    <a:pt x="506927" y="661590"/>
                    <a:pt x="521450" y="683375"/>
                  </a:cubicBezTo>
                  <a:lnTo>
                    <a:pt x="559550" y="740525"/>
                  </a:lnTo>
                  <a:cubicBezTo>
                    <a:pt x="553200" y="750050"/>
                    <a:pt x="545620" y="758861"/>
                    <a:pt x="540500" y="769100"/>
                  </a:cubicBezTo>
                  <a:cubicBezTo>
                    <a:pt x="533668" y="782765"/>
                    <a:pt x="524502" y="823568"/>
                    <a:pt x="521450" y="835775"/>
                  </a:cubicBezTo>
                  <a:cubicBezTo>
                    <a:pt x="543223" y="901094"/>
                    <a:pt x="517512" y="820023"/>
                    <a:pt x="540500" y="911975"/>
                  </a:cubicBezTo>
                  <a:cubicBezTo>
                    <a:pt x="542935" y="921715"/>
                    <a:pt x="546850" y="931025"/>
                    <a:pt x="550025" y="940550"/>
                  </a:cubicBezTo>
                  <a:cubicBezTo>
                    <a:pt x="540500" y="946900"/>
                    <a:pt x="529545" y="951505"/>
                    <a:pt x="521450" y="959600"/>
                  </a:cubicBezTo>
                  <a:cubicBezTo>
                    <a:pt x="513355" y="967695"/>
                    <a:pt x="513029" y="983923"/>
                    <a:pt x="502400" y="988175"/>
                  </a:cubicBezTo>
                  <a:cubicBezTo>
                    <a:pt x="493078" y="991904"/>
                    <a:pt x="483350" y="981825"/>
                    <a:pt x="473825" y="978650"/>
                  </a:cubicBezTo>
                  <a:cubicBezTo>
                    <a:pt x="429375" y="911975"/>
                    <a:pt x="454775" y="934200"/>
                    <a:pt x="407150" y="902450"/>
                  </a:cubicBezTo>
                  <a:cubicBezTo>
                    <a:pt x="400800" y="892925"/>
                    <a:pt x="393220" y="884114"/>
                    <a:pt x="388100" y="873875"/>
                  </a:cubicBezTo>
                  <a:cubicBezTo>
                    <a:pt x="383610" y="864895"/>
                    <a:pt x="383451" y="854077"/>
                    <a:pt x="378575" y="845300"/>
                  </a:cubicBezTo>
                  <a:cubicBezTo>
                    <a:pt x="367456" y="825286"/>
                    <a:pt x="353175" y="807200"/>
                    <a:pt x="340475" y="788150"/>
                  </a:cubicBezTo>
                  <a:cubicBezTo>
                    <a:pt x="334125" y="778625"/>
                    <a:pt x="325045" y="770435"/>
                    <a:pt x="321425" y="759575"/>
                  </a:cubicBezTo>
                  <a:lnTo>
                    <a:pt x="311900" y="731000"/>
                  </a:lnTo>
                  <a:cubicBezTo>
                    <a:pt x="315075" y="718300"/>
                    <a:pt x="321425" y="705991"/>
                    <a:pt x="321425" y="692900"/>
                  </a:cubicBezTo>
                  <a:cubicBezTo>
                    <a:pt x="321425" y="673587"/>
                    <a:pt x="316584" y="654486"/>
                    <a:pt x="311900" y="635750"/>
                  </a:cubicBezTo>
                  <a:cubicBezTo>
                    <a:pt x="307030" y="616269"/>
                    <a:pt x="299200" y="597650"/>
                    <a:pt x="292850" y="578600"/>
                  </a:cubicBezTo>
                  <a:cubicBezTo>
                    <a:pt x="289675" y="569075"/>
                    <a:pt x="290425" y="557125"/>
                    <a:pt x="283325" y="550025"/>
                  </a:cubicBezTo>
                  <a:lnTo>
                    <a:pt x="273800" y="530975"/>
                  </a:ln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37" name="Freeform 34"/>
            <p:cNvSpPr>
              <a:spLocks noChangeArrowheads="1"/>
            </p:cNvSpPr>
            <p:nvPr/>
          </p:nvSpPr>
          <p:spPr bwMode="auto">
            <a:xfrm>
              <a:off x="2844813" y="7184840"/>
              <a:ext cx="1316286" cy="1228694"/>
            </a:xfrm>
            <a:custGeom>
              <a:avLst/>
              <a:gdLst>
                <a:gd name="T0" fmla="*/ 0 w 1754845"/>
                <a:gd name="T1" fmla="*/ 0 h 1638300"/>
                <a:gd name="T2" fmla="*/ 1754845 w 1754845"/>
                <a:gd name="T3" fmla="*/ 1638300 h 1638300"/>
              </a:gdLst>
              <a:ahLst/>
              <a:cxnLst/>
              <a:rect l="T0" t="T1" r="T2" b="T3"/>
              <a:pathLst>
                <a:path w="1754845" h="1638300">
                  <a:moveTo>
                    <a:pt x="142875" y="876300"/>
                  </a:moveTo>
                  <a:cubicBezTo>
                    <a:pt x="147637" y="877887"/>
                    <a:pt x="169272" y="876576"/>
                    <a:pt x="171450" y="866775"/>
                  </a:cubicBezTo>
                  <a:cubicBezTo>
                    <a:pt x="186985" y="796869"/>
                    <a:pt x="171382" y="796879"/>
                    <a:pt x="133350" y="771525"/>
                  </a:cubicBezTo>
                  <a:cubicBezTo>
                    <a:pt x="136525" y="758825"/>
                    <a:pt x="139113" y="745964"/>
                    <a:pt x="142875" y="733425"/>
                  </a:cubicBezTo>
                  <a:cubicBezTo>
                    <a:pt x="148645" y="714191"/>
                    <a:pt x="161925" y="676275"/>
                    <a:pt x="161925" y="676275"/>
                  </a:cubicBezTo>
                  <a:cubicBezTo>
                    <a:pt x="158750" y="660400"/>
                    <a:pt x="156327" y="644356"/>
                    <a:pt x="152400" y="628650"/>
                  </a:cubicBezTo>
                  <a:cubicBezTo>
                    <a:pt x="149965" y="618910"/>
                    <a:pt x="142875" y="610115"/>
                    <a:pt x="142875" y="600075"/>
                  </a:cubicBezTo>
                  <a:cubicBezTo>
                    <a:pt x="142875" y="569321"/>
                    <a:pt x="155896" y="556731"/>
                    <a:pt x="171450" y="533400"/>
                  </a:cubicBezTo>
                  <a:cubicBezTo>
                    <a:pt x="174625" y="514350"/>
                    <a:pt x="172338" y="493524"/>
                    <a:pt x="180975" y="476250"/>
                  </a:cubicBezTo>
                  <a:cubicBezTo>
                    <a:pt x="186095" y="466011"/>
                    <a:pt x="206405" y="468207"/>
                    <a:pt x="209550" y="457200"/>
                  </a:cubicBezTo>
                  <a:cubicBezTo>
                    <a:pt x="221791" y="414357"/>
                    <a:pt x="196517" y="407236"/>
                    <a:pt x="171450" y="390525"/>
                  </a:cubicBezTo>
                  <a:cubicBezTo>
                    <a:pt x="172072" y="388036"/>
                    <a:pt x="185531" y="330061"/>
                    <a:pt x="190500" y="323850"/>
                  </a:cubicBezTo>
                  <a:cubicBezTo>
                    <a:pt x="197651" y="314911"/>
                    <a:pt x="209550" y="311150"/>
                    <a:pt x="219075" y="304800"/>
                  </a:cubicBezTo>
                  <a:cubicBezTo>
                    <a:pt x="225425" y="295275"/>
                    <a:pt x="229186" y="283376"/>
                    <a:pt x="238125" y="276225"/>
                  </a:cubicBezTo>
                  <a:cubicBezTo>
                    <a:pt x="245965" y="269953"/>
                    <a:pt x="262210" y="275680"/>
                    <a:pt x="266700" y="266700"/>
                  </a:cubicBezTo>
                  <a:cubicBezTo>
                    <a:pt x="271190" y="257720"/>
                    <a:pt x="259610" y="247865"/>
                    <a:pt x="257175" y="238125"/>
                  </a:cubicBezTo>
                  <a:cubicBezTo>
                    <a:pt x="253248" y="222419"/>
                    <a:pt x="250825" y="206375"/>
                    <a:pt x="247650" y="190500"/>
                  </a:cubicBezTo>
                  <a:lnTo>
                    <a:pt x="285750" y="133350"/>
                  </a:lnTo>
                  <a:lnTo>
                    <a:pt x="304800" y="104775"/>
                  </a:lnTo>
                  <a:cubicBezTo>
                    <a:pt x="361517" y="123681"/>
                    <a:pt x="312016" y="117764"/>
                    <a:pt x="352425" y="57150"/>
                  </a:cubicBezTo>
                  <a:lnTo>
                    <a:pt x="390525" y="0"/>
                  </a:lnTo>
                  <a:cubicBezTo>
                    <a:pt x="400050" y="6350"/>
                    <a:pt x="411005" y="10955"/>
                    <a:pt x="419100" y="19050"/>
                  </a:cubicBezTo>
                  <a:cubicBezTo>
                    <a:pt x="427195" y="27145"/>
                    <a:pt x="427521" y="43373"/>
                    <a:pt x="438150" y="47625"/>
                  </a:cubicBezTo>
                  <a:cubicBezTo>
                    <a:pt x="447472" y="51354"/>
                    <a:pt x="457200" y="41275"/>
                    <a:pt x="466725" y="38100"/>
                  </a:cubicBezTo>
                  <a:cubicBezTo>
                    <a:pt x="479425" y="41275"/>
                    <a:pt x="491734" y="47625"/>
                    <a:pt x="504825" y="47625"/>
                  </a:cubicBezTo>
                  <a:cubicBezTo>
                    <a:pt x="613656" y="47625"/>
                    <a:pt x="497632" y="24396"/>
                    <a:pt x="590550" y="47625"/>
                  </a:cubicBezTo>
                  <a:cubicBezTo>
                    <a:pt x="600075" y="53975"/>
                    <a:pt x="607833" y="64793"/>
                    <a:pt x="619125" y="66675"/>
                  </a:cubicBezTo>
                  <a:cubicBezTo>
                    <a:pt x="629029" y="68326"/>
                    <a:pt x="637960" y="59585"/>
                    <a:pt x="647700" y="57150"/>
                  </a:cubicBezTo>
                  <a:cubicBezTo>
                    <a:pt x="663406" y="53223"/>
                    <a:pt x="679450" y="50800"/>
                    <a:pt x="695325" y="47625"/>
                  </a:cubicBezTo>
                  <a:cubicBezTo>
                    <a:pt x="708025" y="50800"/>
                    <a:pt x="724906" y="47211"/>
                    <a:pt x="733425" y="57150"/>
                  </a:cubicBezTo>
                  <a:cubicBezTo>
                    <a:pt x="746493" y="72396"/>
                    <a:pt x="752475" y="114300"/>
                    <a:pt x="752475" y="114300"/>
                  </a:cubicBezTo>
                  <a:cubicBezTo>
                    <a:pt x="754942" y="141434"/>
                    <a:pt x="745190" y="218962"/>
                    <a:pt x="781050" y="247650"/>
                  </a:cubicBezTo>
                  <a:cubicBezTo>
                    <a:pt x="788890" y="253922"/>
                    <a:pt x="800100" y="254000"/>
                    <a:pt x="809625" y="257175"/>
                  </a:cubicBezTo>
                  <a:lnTo>
                    <a:pt x="895350" y="285750"/>
                  </a:lnTo>
                  <a:lnTo>
                    <a:pt x="952500" y="304800"/>
                  </a:lnTo>
                  <a:cubicBezTo>
                    <a:pt x="958850" y="314325"/>
                    <a:pt x="966430" y="323136"/>
                    <a:pt x="971550" y="333375"/>
                  </a:cubicBezTo>
                  <a:cubicBezTo>
                    <a:pt x="976040" y="342355"/>
                    <a:pt x="975506" y="353596"/>
                    <a:pt x="981075" y="361950"/>
                  </a:cubicBezTo>
                  <a:cubicBezTo>
                    <a:pt x="988547" y="373158"/>
                    <a:pt x="1000125" y="381000"/>
                    <a:pt x="1009650" y="390525"/>
                  </a:cubicBezTo>
                  <a:cubicBezTo>
                    <a:pt x="1025867" y="471609"/>
                    <a:pt x="1000887" y="428625"/>
                    <a:pt x="1047750" y="428625"/>
                  </a:cubicBezTo>
                  <a:cubicBezTo>
                    <a:pt x="1057790" y="428625"/>
                    <a:pt x="1066800" y="434975"/>
                    <a:pt x="1076325" y="438150"/>
                  </a:cubicBezTo>
                  <a:cubicBezTo>
                    <a:pt x="1095375" y="431800"/>
                    <a:pt x="1122336" y="435808"/>
                    <a:pt x="1133475" y="419100"/>
                  </a:cubicBezTo>
                  <a:cubicBezTo>
                    <a:pt x="1139825" y="409575"/>
                    <a:pt x="1142817" y="396592"/>
                    <a:pt x="1152525" y="390525"/>
                  </a:cubicBezTo>
                  <a:cubicBezTo>
                    <a:pt x="1169553" y="379882"/>
                    <a:pt x="1209675" y="371475"/>
                    <a:pt x="1209675" y="371475"/>
                  </a:cubicBezTo>
                  <a:cubicBezTo>
                    <a:pt x="1212850" y="361950"/>
                    <a:pt x="1212928" y="350740"/>
                    <a:pt x="1219200" y="342900"/>
                  </a:cubicBezTo>
                  <a:cubicBezTo>
                    <a:pt x="1235667" y="322317"/>
                    <a:pt x="1287462" y="310621"/>
                    <a:pt x="1304925" y="304800"/>
                  </a:cubicBezTo>
                  <a:lnTo>
                    <a:pt x="1333500" y="295275"/>
                  </a:lnTo>
                  <a:cubicBezTo>
                    <a:pt x="1339850" y="285750"/>
                    <a:pt x="1341921" y="270952"/>
                    <a:pt x="1352550" y="266700"/>
                  </a:cubicBezTo>
                  <a:cubicBezTo>
                    <a:pt x="1361872" y="262971"/>
                    <a:pt x="1372145" y="280715"/>
                    <a:pt x="1381125" y="276225"/>
                  </a:cubicBezTo>
                  <a:cubicBezTo>
                    <a:pt x="1390105" y="271735"/>
                    <a:pt x="1385774" y="256427"/>
                    <a:pt x="1390650" y="247650"/>
                  </a:cubicBezTo>
                  <a:cubicBezTo>
                    <a:pt x="1401769" y="227636"/>
                    <a:pt x="1416050" y="209550"/>
                    <a:pt x="1428750" y="190500"/>
                  </a:cubicBezTo>
                  <a:cubicBezTo>
                    <a:pt x="1435100" y="180975"/>
                    <a:pt x="1436940" y="165545"/>
                    <a:pt x="1447800" y="161925"/>
                  </a:cubicBezTo>
                  <a:cubicBezTo>
                    <a:pt x="1487235" y="148780"/>
                    <a:pt x="1468021" y="157969"/>
                    <a:pt x="1504950" y="133350"/>
                  </a:cubicBezTo>
                  <a:cubicBezTo>
                    <a:pt x="1511300" y="142875"/>
                    <a:pt x="1518880" y="151686"/>
                    <a:pt x="1524000" y="161925"/>
                  </a:cubicBezTo>
                  <a:cubicBezTo>
                    <a:pt x="1528490" y="170905"/>
                    <a:pt x="1527253" y="182660"/>
                    <a:pt x="1533525" y="190500"/>
                  </a:cubicBezTo>
                  <a:cubicBezTo>
                    <a:pt x="1540676" y="199439"/>
                    <a:pt x="1552575" y="203200"/>
                    <a:pt x="1562100" y="209550"/>
                  </a:cubicBezTo>
                  <a:cubicBezTo>
                    <a:pt x="1630110" y="186880"/>
                    <a:pt x="1602542" y="201639"/>
                    <a:pt x="1647825" y="171450"/>
                  </a:cubicBezTo>
                  <a:cubicBezTo>
                    <a:pt x="1654175" y="161925"/>
                    <a:pt x="1657936" y="150026"/>
                    <a:pt x="1666875" y="142875"/>
                  </a:cubicBezTo>
                  <a:cubicBezTo>
                    <a:pt x="1689649" y="124655"/>
                    <a:pt x="1709465" y="136854"/>
                    <a:pt x="1733550" y="142875"/>
                  </a:cubicBezTo>
                  <a:cubicBezTo>
                    <a:pt x="1739900" y="152400"/>
                    <a:pt x="1754845" y="160225"/>
                    <a:pt x="1752600" y="171450"/>
                  </a:cubicBezTo>
                  <a:cubicBezTo>
                    <a:pt x="1750355" y="182675"/>
                    <a:pt x="1731563" y="181885"/>
                    <a:pt x="1724025" y="190500"/>
                  </a:cubicBezTo>
                  <a:cubicBezTo>
                    <a:pt x="1708948" y="207730"/>
                    <a:pt x="1698625" y="228600"/>
                    <a:pt x="1685925" y="247650"/>
                  </a:cubicBezTo>
                  <a:lnTo>
                    <a:pt x="1666875" y="276225"/>
                  </a:lnTo>
                  <a:cubicBezTo>
                    <a:pt x="1660525" y="285750"/>
                    <a:pt x="1655920" y="296705"/>
                    <a:pt x="1647825" y="304800"/>
                  </a:cubicBezTo>
                  <a:cubicBezTo>
                    <a:pt x="1638300" y="314325"/>
                    <a:pt x="1627874" y="323027"/>
                    <a:pt x="1619250" y="333375"/>
                  </a:cubicBezTo>
                  <a:cubicBezTo>
                    <a:pt x="1611921" y="342169"/>
                    <a:pt x="1608295" y="353855"/>
                    <a:pt x="1600200" y="361950"/>
                  </a:cubicBezTo>
                  <a:cubicBezTo>
                    <a:pt x="1592105" y="370045"/>
                    <a:pt x="1580419" y="373671"/>
                    <a:pt x="1571625" y="381000"/>
                  </a:cubicBezTo>
                  <a:cubicBezTo>
                    <a:pt x="1561277" y="389624"/>
                    <a:pt x="1551674" y="399227"/>
                    <a:pt x="1543050" y="409575"/>
                  </a:cubicBezTo>
                  <a:cubicBezTo>
                    <a:pt x="1535721" y="418369"/>
                    <a:pt x="1532939" y="430999"/>
                    <a:pt x="1524000" y="438150"/>
                  </a:cubicBezTo>
                  <a:cubicBezTo>
                    <a:pt x="1516160" y="444422"/>
                    <a:pt x="1504950" y="444500"/>
                    <a:pt x="1495425" y="447675"/>
                  </a:cubicBezTo>
                  <a:cubicBezTo>
                    <a:pt x="1485900" y="444500"/>
                    <a:pt x="1476754" y="436499"/>
                    <a:pt x="1466850" y="438150"/>
                  </a:cubicBezTo>
                  <a:cubicBezTo>
                    <a:pt x="1455558" y="440032"/>
                    <a:pt x="1444625" y="447675"/>
                    <a:pt x="1438275" y="457200"/>
                  </a:cubicBezTo>
                  <a:cubicBezTo>
                    <a:pt x="1420915" y="483240"/>
                    <a:pt x="1440435" y="504666"/>
                    <a:pt x="1409700" y="523875"/>
                  </a:cubicBezTo>
                  <a:cubicBezTo>
                    <a:pt x="1392672" y="534518"/>
                    <a:pt x="1371600" y="536575"/>
                    <a:pt x="1352550" y="542925"/>
                  </a:cubicBezTo>
                  <a:lnTo>
                    <a:pt x="1323975" y="552450"/>
                  </a:lnTo>
                  <a:cubicBezTo>
                    <a:pt x="1317625" y="561975"/>
                    <a:pt x="1313864" y="573874"/>
                    <a:pt x="1304925" y="581025"/>
                  </a:cubicBezTo>
                  <a:cubicBezTo>
                    <a:pt x="1297085" y="587297"/>
                    <a:pt x="1277770" y="580611"/>
                    <a:pt x="1276350" y="590550"/>
                  </a:cubicBezTo>
                  <a:cubicBezTo>
                    <a:pt x="1273510" y="610429"/>
                    <a:pt x="1295400" y="647700"/>
                    <a:pt x="1295400" y="647700"/>
                  </a:cubicBezTo>
                  <a:cubicBezTo>
                    <a:pt x="1289050" y="657225"/>
                    <a:pt x="1286058" y="670208"/>
                    <a:pt x="1276350" y="676275"/>
                  </a:cubicBezTo>
                  <a:cubicBezTo>
                    <a:pt x="1259322" y="686918"/>
                    <a:pt x="1238250" y="688975"/>
                    <a:pt x="1219200" y="695325"/>
                  </a:cubicBezTo>
                  <a:cubicBezTo>
                    <a:pt x="1178206" y="708990"/>
                    <a:pt x="1200365" y="702415"/>
                    <a:pt x="1152525" y="714375"/>
                  </a:cubicBezTo>
                  <a:cubicBezTo>
                    <a:pt x="1146175" y="723900"/>
                    <a:pt x="1138595" y="732711"/>
                    <a:pt x="1133475" y="742950"/>
                  </a:cubicBezTo>
                  <a:cubicBezTo>
                    <a:pt x="1128985" y="751930"/>
                    <a:pt x="1131790" y="765253"/>
                    <a:pt x="1123950" y="771525"/>
                  </a:cubicBezTo>
                  <a:cubicBezTo>
                    <a:pt x="1113728" y="779703"/>
                    <a:pt x="1098550" y="777875"/>
                    <a:pt x="1085850" y="781050"/>
                  </a:cubicBezTo>
                  <a:cubicBezTo>
                    <a:pt x="1061768" y="797105"/>
                    <a:pt x="1056868" y="803991"/>
                    <a:pt x="1028700" y="809625"/>
                  </a:cubicBezTo>
                  <a:cubicBezTo>
                    <a:pt x="1022473" y="810870"/>
                    <a:pt x="1016000" y="809625"/>
                    <a:pt x="1009650" y="809625"/>
                  </a:cubicBezTo>
                  <a:cubicBezTo>
                    <a:pt x="996950" y="812800"/>
                    <a:pt x="984137" y="815554"/>
                    <a:pt x="971550" y="819150"/>
                  </a:cubicBezTo>
                  <a:cubicBezTo>
                    <a:pt x="961896" y="821908"/>
                    <a:pt x="948811" y="820505"/>
                    <a:pt x="942975" y="828675"/>
                  </a:cubicBezTo>
                  <a:cubicBezTo>
                    <a:pt x="931303" y="845015"/>
                    <a:pt x="928795" y="866344"/>
                    <a:pt x="923925" y="885825"/>
                  </a:cubicBezTo>
                  <a:cubicBezTo>
                    <a:pt x="920750" y="898525"/>
                    <a:pt x="922578" y="913703"/>
                    <a:pt x="914400" y="923925"/>
                  </a:cubicBezTo>
                  <a:cubicBezTo>
                    <a:pt x="908128" y="931765"/>
                    <a:pt x="895350" y="930275"/>
                    <a:pt x="885825" y="933450"/>
                  </a:cubicBezTo>
                  <a:cubicBezTo>
                    <a:pt x="876300" y="930275"/>
                    <a:pt x="866230" y="928415"/>
                    <a:pt x="857250" y="923925"/>
                  </a:cubicBezTo>
                  <a:cubicBezTo>
                    <a:pt x="847011" y="918805"/>
                    <a:pt x="839967" y="906757"/>
                    <a:pt x="828675" y="904875"/>
                  </a:cubicBezTo>
                  <a:cubicBezTo>
                    <a:pt x="818771" y="903224"/>
                    <a:pt x="809625" y="911225"/>
                    <a:pt x="800100" y="914400"/>
                  </a:cubicBezTo>
                  <a:cubicBezTo>
                    <a:pt x="745505" y="996292"/>
                    <a:pt x="810960" y="892680"/>
                    <a:pt x="771525" y="971550"/>
                  </a:cubicBezTo>
                  <a:cubicBezTo>
                    <a:pt x="766405" y="981789"/>
                    <a:pt x="757595" y="989886"/>
                    <a:pt x="752475" y="1000125"/>
                  </a:cubicBezTo>
                  <a:cubicBezTo>
                    <a:pt x="747985" y="1009105"/>
                    <a:pt x="747440" y="1019720"/>
                    <a:pt x="742950" y="1028700"/>
                  </a:cubicBezTo>
                  <a:cubicBezTo>
                    <a:pt x="706021" y="1102558"/>
                    <a:pt x="738316" y="1014026"/>
                    <a:pt x="714375" y="1085850"/>
                  </a:cubicBezTo>
                  <a:cubicBezTo>
                    <a:pt x="720725" y="1095375"/>
                    <a:pt x="728776" y="1103964"/>
                    <a:pt x="733425" y="1114425"/>
                  </a:cubicBezTo>
                  <a:cubicBezTo>
                    <a:pt x="741580" y="1132775"/>
                    <a:pt x="752475" y="1171575"/>
                    <a:pt x="752475" y="1171575"/>
                  </a:cubicBezTo>
                  <a:cubicBezTo>
                    <a:pt x="749300" y="1196975"/>
                    <a:pt x="746842" y="1222475"/>
                    <a:pt x="742950" y="1247775"/>
                  </a:cubicBezTo>
                  <a:cubicBezTo>
                    <a:pt x="740488" y="1263776"/>
                    <a:pt x="733425" y="1279211"/>
                    <a:pt x="733425" y="1295400"/>
                  </a:cubicBezTo>
                  <a:cubicBezTo>
                    <a:pt x="733425" y="1305440"/>
                    <a:pt x="738460" y="1314995"/>
                    <a:pt x="742950" y="1323975"/>
                  </a:cubicBezTo>
                  <a:cubicBezTo>
                    <a:pt x="748070" y="1334214"/>
                    <a:pt x="762000" y="1352550"/>
                    <a:pt x="762000" y="1352550"/>
                  </a:cubicBezTo>
                  <a:cubicBezTo>
                    <a:pt x="764687" y="1360610"/>
                    <a:pt x="797169" y="1419958"/>
                    <a:pt x="771525" y="1438275"/>
                  </a:cubicBezTo>
                  <a:cubicBezTo>
                    <a:pt x="755185" y="1449947"/>
                    <a:pt x="733425" y="1450975"/>
                    <a:pt x="714375" y="1457325"/>
                  </a:cubicBezTo>
                  <a:lnTo>
                    <a:pt x="685800" y="1466850"/>
                  </a:lnTo>
                  <a:lnTo>
                    <a:pt x="657225" y="1476375"/>
                  </a:lnTo>
                  <a:cubicBezTo>
                    <a:pt x="647700" y="1473200"/>
                    <a:pt x="638690" y="1466850"/>
                    <a:pt x="628650" y="1466850"/>
                  </a:cubicBezTo>
                  <a:cubicBezTo>
                    <a:pt x="601893" y="1466850"/>
                    <a:pt x="593974" y="1485793"/>
                    <a:pt x="571500" y="1495425"/>
                  </a:cubicBezTo>
                  <a:cubicBezTo>
                    <a:pt x="559468" y="1500582"/>
                    <a:pt x="545987" y="1501354"/>
                    <a:pt x="533400" y="1504950"/>
                  </a:cubicBezTo>
                  <a:cubicBezTo>
                    <a:pt x="523746" y="1507708"/>
                    <a:pt x="514565" y="1512040"/>
                    <a:pt x="504825" y="1514475"/>
                  </a:cubicBezTo>
                  <a:cubicBezTo>
                    <a:pt x="483088" y="1519909"/>
                    <a:pt x="450398" y="1522639"/>
                    <a:pt x="428625" y="1533525"/>
                  </a:cubicBezTo>
                  <a:cubicBezTo>
                    <a:pt x="418386" y="1538645"/>
                    <a:pt x="409575" y="1546225"/>
                    <a:pt x="400050" y="1552575"/>
                  </a:cubicBezTo>
                  <a:cubicBezTo>
                    <a:pt x="396875" y="1562100"/>
                    <a:pt x="395015" y="1572170"/>
                    <a:pt x="390525" y="1581150"/>
                  </a:cubicBezTo>
                  <a:cubicBezTo>
                    <a:pt x="377264" y="1607672"/>
                    <a:pt x="363966" y="1617234"/>
                    <a:pt x="342900" y="1638300"/>
                  </a:cubicBezTo>
                  <a:cubicBezTo>
                    <a:pt x="333375" y="1631950"/>
                    <a:pt x="324564" y="1624370"/>
                    <a:pt x="314325" y="1619250"/>
                  </a:cubicBezTo>
                  <a:cubicBezTo>
                    <a:pt x="305345" y="1614760"/>
                    <a:pt x="290240" y="1618705"/>
                    <a:pt x="285750" y="1609725"/>
                  </a:cubicBezTo>
                  <a:cubicBezTo>
                    <a:pt x="281260" y="1600745"/>
                    <a:pt x="290399" y="1589927"/>
                    <a:pt x="295275" y="1581150"/>
                  </a:cubicBezTo>
                  <a:cubicBezTo>
                    <a:pt x="330012" y="1518623"/>
                    <a:pt x="315572" y="1529934"/>
                    <a:pt x="361950" y="1514475"/>
                  </a:cubicBezTo>
                  <a:cubicBezTo>
                    <a:pt x="365125" y="1504950"/>
                    <a:pt x="373126" y="1495804"/>
                    <a:pt x="371475" y="1485900"/>
                  </a:cubicBezTo>
                  <a:cubicBezTo>
                    <a:pt x="367506" y="1462087"/>
                    <a:pt x="340519" y="1449387"/>
                    <a:pt x="323850" y="1438275"/>
                  </a:cubicBezTo>
                  <a:cubicBezTo>
                    <a:pt x="311150" y="1419225"/>
                    <a:pt x="292990" y="1402845"/>
                    <a:pt x="285750" y="1381125"/>
                  </a:cubicBezTo>
                  <a:cubicBezTo>
                    <a:pt x="282575" y="1371600"/>
                    <a:pt x="282497" y="1360390"/>
                    <a:pt x="276225" y="1352550"/>
                  </a:cubicBezTo>
                  <a:cubicBezTo>
                    <a:pt x="269074" y="1343611"/>
                    <a:pt x="257175" y="1339850"/>
                    <a:pt x="247650" y="1333500"/>
                  </a:cubicBezTo>
                  <a:cubicBezTo>
                    <a:pt x="237699" y="1340134"/>
                    <a:pt x="206274" y="1364704"/>
                    <a:pt x="190500" y="1362075"/>
                  </a:cubicBezTo>
                  <a:cubicBezTo>
                    <a:pt x="179208" y="1360193"/>
                    <a:pt x="171450" y="1349375"/>
                    <a:pt x="161925" y="1343025"/>
                  </a:cubicBezTo>
                  <a:cubicBezTo>
                    <a:pt x="152293" y="1328578"/>
                    <a:pt x="133350" y="1305593"/>
                    <a:pt x="133350" y="1285875"/>
                  </a:cubicBezTo>
                  <a:cubicBezTo>
                    <a:pt x="133350" y="1275835"/>
                    <a:pt x="139700" y="1266825"/>
                    <a:pt x="142875" y="1257300"/>
                  </a:cubicBezTo>
                  <a:cubicBezTo>
                    <a:pt x="133350" y="1254125"/>
                    <a:pt x="124040" y="1250210"/>
                    <a:pt x="114300" y="1247775"/>
                  </a:cubicBezTo>
                  <a:cubicBezTo>
                    <a:pt x="98594" y="1243848"/>
                    <a:pt x="81834" y="1243934"/>
                    <a:pt x="66675" y="1238250"/>
                  </a:cubicBezTo>
                  <a:cubicBezTo>
                    <a:pt x="55956" y="1234230"/>
                    <a:pt x="47625" y="1225550"/>
                    <a:pt x="38100" y="1219200"/>
                  </a:cubicBezTo>
                  <a:cubicBezTo>
                    <a:pt x="34925" y="1209675"/>
                    <a:pt x="31333" y="1200279"/>
                    <a:pt x="28575" y="1190625"/>
                  </a:cubicBezTo>
                  <a:cubicBezTo>
                    <a:pt x="24979" y="1178038"/>
                    <a:pt x="22812" y="1165064"/>
                    <a:pt x="19050" y="1152525"/>
                  </a:cubicBezTo>
                  <a:cubicBezTo>
                    <a:pt x="13280" y="1133291"/>
                    <a:pt x="0" y="1095375"/>
                    <a:pt x="0" y="1095375"/>
                  </a:cubicBezTo>
                  <a:cubicBezTo>
                    <a:pt x="8950" y="1068525"/>
                    <a:pt x="8912" y="1054441"/>
                    <a:pt x="38100" y="1038225"/>
                  </a:cubicBezTo>
                  <a:cubicBezTo>
                    <a:pt x="55653" y="1028473"/>
                    <a:pt x="95250" y="1019175"/>
                    <a:pt x="95250" y="1019175"/>
                  </a:cubicBezTo>
                  <a:cubicBezTo>
                    <a:pt x="92075" y="1009650"/>
                    <a:pt x="90215" y="999580"/>
                    <a:pt x="85725" y="990600"/>
                  </a:cubicBezTo>
                  <a:cubicBezTo>
                    <a:pt x="80605" y="980361"/>
                    <a:pt x="68557" y="973317"/>
                    <a:pt x="66675" y="962025"/>
                  </a:cubicBezTo>
                  <a:cubicBezTo>
                    <a:pt x="65024" y="952121"/>
                    <a:pt x="73025" y="942975"/>
                    <a:pt x="76200" y="933450"/>
                  </a:cubicBezTo>
                  <a:cubicBezTo>
                    <a:pt x="79375" y="911225"/>
                    <a:pt x="76607" y="887291"/>
                    <a:pt x="85725" y="866775"/>
                  </a:cubicBezTo>
                  <a:cubicBezTo>
                    <a:pt x="103328" y="827168"/>
                    <a:pt x="120390" y="857250"/>
                    <a:pt x="142875" y="857250"/>
                  </a:cubicBezTo>
                  <a:cubicBezTo>
                    <a:pt x="149975" y="857250"/>
                    <a:pt x="138113" y="874713"/>
                    <a:pt x="142875" y="876300"/>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38" name="Freeform 35"/>
            <p:cNvSpPr>
              <a:spLocks noChangeArrowheads="1"/>
            </p:cNvSpPr>
            <p:nvPr/>
          </p:nvSpPr>
          <p:spPr bwMode="auto">
            <a:xfrm>
              <a:off x="2336547" y="7850332"/>
              <a:ext cx="108170" cy="163164"/>
            </a:xfrm>
            <a:custGeom>
              <a:avLst/>
              <a:gdLst>
                <a:gd name="T0" fmla="*/ 0 w 144210"/>
                <a:gd name="T1" fmla="*/ 0 h 217555"/>
                <a:gd name="T2" fmla="*/ 0 w 144210"/>
                <a:gd name="T3" fmla="*/ 0 h 217555"/>
                <a:gd name="T4" fmla="*/ 0 w 144210"/>
                <a:gd name="T5" fmla="*/ 0 h 217555"/>
                <a:gd name="T6" fmla="*/ 0 w 144210"/>
                <a:gd name="T7" fmla="*/ 0 h 217555"/>
                <a:gd name="T8" fmla="*/ 0 w 144210"/>
                <a:gd name="T9" fmla="*/ 0 h 217555"/>
                <a:gd name="T10" fmla="*/ 0 w 144210"/>
                <a:gd name="T11" fmla="*/ 0 h 217555"/>
                <a:gd name="T12" fmla="*/ 0 w 144210"/>
                <a:gd name="T13" fmla="*/ 0 h 217555"/>
                <a:gd name="T14" fmla="*/ 0 w 144210"/>
                <a:gd name="T15" fmla="*/ 0 h 217555"/>
                <a:gd name="T16" fmla="*/ 0 w 144210"/>
                <a:gd name="T17" fmla="*/ 0 h 217555"/>
                <a:gd name="T18" fmla="*/ 0 w 144210"/>
                <a:gd name="T19" fmla="*/ 0 h 217555"/>
                <a:gd name="T20" fmla="*/ 0 w 144210"/>
                <a:gd name="T21" fmla="*/ 0 h 217555"/>
                <a:gd name="T22" fmla="*/ 0 w 144210"/>
                <a:gd name="T23" fmla="*/ 0 h 2175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4210"/>
                <a:gd name="T37" fmla="*/ 0 h 217555"/>
                <a:gd name="T38" fmla="*/ 144210 w 144210"/>
                <a:gd name="T39" fmla="*/ 217555 h 2175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4210" h="217555">
                  <a:moveTo>
                    <a:pt x="77535" y="198505"/>
                  </a:moveTo>
                  <a:cubicBezTo>
                    <a:pt x="72772" y="185805"/>
                    <a:pt x="69624" y="158063"/>
                    <a:pt x="58485" y="141355"/>
                  </a:cubicBezTo>
                  <a:cubicBezTo>
                    <a:pt x="52135" y="131830"/>
                    <a:pt x="44555" y="123019"/>
                    <a:pt x="39435" y="112780"/>
                  </a:cubicBezTo>
                  <a:cubicBezTo>
                    <a:pt x="0" y="33910"/>
                    <a:pt x="65455" y="137522"/>
                    <a:pt x="10860" y="55630"/>
                  </a:cubicBezTo>
                  <a:cubicBezTo>
                    <a:pt x="29403" y="0"/>
                    <a:pt x="5876" y="39950"/>
                    <a:pt x="48960" y="46105"/>
                  </a:cubicBezTo>
                  <a:cubicBezTo>
                    <a:pt x="61919" y="47956"/>
                    <a:pt x="74360" y="39755"/>
                    <a:pt x="87060" y="36580"/>
                  </a:cubicBezTo>
                  <a:cubicBezTo>
                    <a:pt x="108126" y="57646"/>
                    <a:pt x="121424" y="67208"/>
                    <a:pt x="134685" y="93730"/>
                  </a:cubicBezTo>
                  <a:cubicBezTo>
                    <a:pt x="139175" y="102710"/>
                    <a:pt x="141035" y="112780"/>
                    <a:pt x="144210" y="122305"/>
                  </a:cubicBezTo>
                  <a:lnTo>
                    <a:pt x="125160" y="179455"/>
                  </a:lnTo>
                  <a:cubicBezTo>
                    <a:pt x="121985" y="188980"/>
                    <a:pt x="125160" y="204855"/>
                    <a:pt x="115635" y="208030"/>
                  </a:cubicBezTo>
                  <a:lnTo>
                    <a:pt x="87060" y="217555"/>
                  </a:lnTo>
                  <a:cubicBezTo>
                    <a:pt x="51750" y="205785"/>
                    <a:pt x="82298" y="211205"/>
                    <a:pt x="77535" y="198505"/>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39" name="Freeform 36"/>
            <p:cNvSpPr>
              <a:spLocks noChangeArrowheads="1"/>
            </p:cNvSpPr>
            <p:nvPr/>
          </p:nvSpPr>
          <p:spPr bwMode="auto">
            <a:xfrm>
              <a:off x="2398155" y="7408436"/>
              <a:ext cx="732444" cy="1169400"/>
            </a:xfrm>
            <a:custGeom>
              <a:avLst/>
              <a:gdLst>
                <a:gd name="T0" fmla="*/ 0 w 976479"/>
                <a:gd name="T1" fmla="*/ 0 h 1559239"/>
                <a:gd name="T2" fmla="*/ 976479 w 976479"/>
                <a:gd name="T3" fmla="*/ 1559239 h 1559239"/>
              </a:gdLst>
              <a:ahLst/>
              <a:cxnLst/>
              <a:rect l="T0" t="T1" r="T2" b="T3"/>
              <a:pathLst>
                <a:path w="976479" h="1559239">
                  <a:moveTo>
                    <a:pt x="109704" y="997264"/>
                  </a:moveTo>
                  <a:cubicBezTo>
                    <a:pt x="109704" y="992502"/>
                    <a:pt x="102937" y="978343"/>
                    <a:pt x="100179" y="968689"/>
                  </a:cubicBezTo>
                  <a:cubicBezTo>
                    <a:pt x="96110" y="954447"/>
                    <a:pt x="88742" y="917239"/>
                    <a:pt x="81129" y="902014"/>
                  </a:cubicBezTo>
                  <a:cubicBezTo>
                    <a:pt x="76009" y="891775"/>
                    <a:pt x="71018" y="880590"/>
                    <a:pt x="62079" y="873439"/>
                  </a:cubicBezTo>
                  <a:cubicBezTo>
                    <a:pt x="54239" y="867167"/>
                    <a:pt x="43029" y="867089"/>
                    <a:pt x="33504" y="863914"/>
                  </a:cubicBezTo>
                  <a:cubicBezTo>
                    <a:pt x="29493" y="857897"/>
                    <a:pt x="0" y="819087"/>
                    <a:pt x="4929" y="806764"/>
                  </a:cubicBezTo>
                  <a:cubicBezTo>
                    <a:pt x="9181" y="796135"/>
                    <a:pt x="23979" y="794064"/>
                    <a:pt x="33504" y="787714"/>
                  </a:cubicBezTo>
                  <a:cubicBezTo>
                    <a:pt x="36679" y="778189"/>
                    <a:pt x="38539" y="768119"/>
                    <a:pt x="43029" y="759139"/>
                  </a:cubicBezTo>
                  <a:cubicBezTo>
                    <a:pt x="48149" y="748900"/>
                    <a:pt x="60197" y="741856"/>
                    <a:pt x="62079" y="730564"/>
                  </a:cubicBezTo>
                  <a:cubicBezTo>
                    <a:pt x="65072" y="712608"/>
                    <a:pt x="39723" y="685853"/>
                    <a:pt x="33504" y="673414"/>
                  </a:cubicBezTo>
                  <a:cubicBezTo>
                    <a:pt x="29014" y="664434"/>
                    <a:pt x="27154" y="654364"/>
                    <a:pt x="23979" y="644839"/>
                  </a:cubicBezTo>
                  <a:cubicBezTo>
                    <a:pt x="27154" y="632139"/>
                    <a:pt x="25326" y="616961"/>
                    <a:pt x="33504" y="606739"/>
                  </a:cubicBezTo>
                  <a:cubicBezTo>
                    <a:pt x="39776" y="598899"/>
                    <a:pt x="54239" y="603486"/>
                    <a:pt x="62079" y="597214"/>
                  </a:cubicBezTo>
                  <a:cubicBezTo>
                    <a:pt x="78865" y="583785"/>
                    <a:pt x="84379" y="558888"/>
                    <a:pt x="90654" y="540064"/>
                  </a:cubicBezTo>
                  <a:cubicBezTo>
                    <a:pt x="62079" y="521014"/>
                    <a:pt x="58904" y="524189"/>
                    <a:pt x="43029" y="492439"/>
                  </a:cubicBezTo>
                  <a:cubicBezTo>
                    <a:pt x="38539" y="483459"/>
                    <a:pt x="31069" y="473604"/>
                    <a:pt x="33504" y="463864"/>
                  </a:cubicBezTo>
                  <a:cubicBezTo>
                    <a:pt x="35226" y="456976"/>
                    <a:pt x="46204" y="457514"/>
                    <a:pt x="52554" y="454339"/>
                  </a:cubicBezTo>
                  <a:cubicBezTo>
                    <a:pt x="55729" y="444814"/>
                    <a:pt x="53909" y="431600"/>
                    <a:pt x="62079" y="425764"/>
                  </a:cubicBezTo>
                  <a:cubicBezTo>
                    <a:pt x="78419" y="414092"/>
                    <a:pt x="100179" y="413064"/>
                    <a:pt x="119229" y="406714"/>
                  </a:cubicBezTo>
                  <a:cubicBezTo>
                    <a:pt x="128754" y="403539"/>
                    <a:pt x="139450" y="402758"/>
                    <a:pt x="147804" y="397189"/>
                  </a:cubicBezTo>
                  <a:cubicBezTo>
                    <a:pt x="157329" y="390839"/>
                    <a:pt x="165857" y="382648"/>
                    <a:pt x="176379" y="378139"/>
                  </a:cubicBezTo>
                  <a:cubicBezTo>
                    <a:pt x="190068" y="372272"/>
                    <a:pt x="251255" y="361801"/>
                    <a:pt x="262104" y="359089"/>
                  </a:cubicBezTo>
                  <a:cubicBezTo>
                    <a:pt x="271844" y="356654"/>
                    <a:pt x="280834" y="351533"/>
                    <a:pt x="290679" y="349564"/>
                  </a:cubicBezTo>
                  <a:cubicBezTo>
                    <a:pt x="312694" y="345161"/>
                    <a:pt x="335129" y="343214"/>
                    <a:pt x="357354" y="340039"/>
                  </a:cubicBezTo>
                  <a:cubicBezTo>
                    <a:pt x="366879" y="336864"/>
                    <a:pt x="382200" y="339836"/>
                    <a:pt x="385929" y="330514"/>
                  </a:cubicBezTo>
                  <a:cubicBezTo>
                    <a:pt x="388104" y="325078"/>
                    <a:pt x="369703" y="272311"/>
                    <a:pt x="366879" y="263839"/>
                  </a:cubicBezTo>
                  <a:cubicBezTo>
                    <a:pt x="376404" y="257489"/>
                    <a:pt x="384063" y="245928"/>
                    <a:pt x="395454" y="244789"/>
                  </a:cubicBezTo>
                  <a:cubicBezTo>
                    <a:pt x="429131" y="241421"/>
                    <a:pt x="460033" y="253615"/>
                    <a:pt x="490704" y="263839"/>
                  </a:cubicBezTo>
                  <a:cubicBezTo>
                    <a:pt x="500229" y="257489"/>
                    <a:pt x="511184" y="252884"/>
                    <a:pt x="519279" y="244789"/>
                  </a:cubicBezTo>
                  <a:cubicBezTo>
                    <a:pt x="554421" y="209647"/>
                    <a:pt x="520091" y="218847"/>
                    <a:pt x="566904" y="187639"/>
                  </a:cubicBezTo>
                  <a:cubicBezTo>
                    <a:pt x="575258" y="182070"/>
                    <a:pt x="586499" y="182604"/>
                    <a:pt x="595479" y="178114"/>
                  </a:cubicBezTo>
                  <a:cubicBezTo>
                    <a:pt x="605718" y="172994"/>
                    <a:pt x="614529" y="165414"/>
                    <a:pt x="624054" y="159064"/>
                  </a:cubicBezTo>
                  <a:cubicBezTo>
                    <a:pt x="630404" y="149539"/>
                    <a:pt x="638455" y="140950"/>
                    <a:pt x="643104" y="130489"/>
                  </a:cubicBezTo>
                  <a:cubicBezTo>
                    <a:pt x="651259" y="112139"/>
                    <a:pt x="643104" y="79689"/>
                    <a:pt x="662154" y="73339"/>
                  </a:cubicBezTo>
                  <a:lnTo>
                    <a:pt x="690729" y="63814"/>
                  </a:lnTo>
                  <a:cubicBezTo>
                    <a:pt x="700254" y="54289"/>
                    <a:pt x="710680" y="45587"/>
                    <a:pt x="719304" y="35239"/>
                  </a:cubicBezTo>
                  <a:cubicBezTo>
                    <a:pt x="726633" y="26445"/>
                    <a:pt x="727725" y="10916"/>
                    <a:pt x="738354" y="6664"/>
                  </a:cubicBezTo>
                  <a:cubicBezTo>
                    <a:pt x="747676" y="2935"/>
                    <a:pt x="757404" y="13014"/>
                    <a:pt x="766929" y="16189"/>
                  </a:cubicBezTo>
                  <a:cubicBezTo>
                    <a:pt x="809797" y="80491"/>
                    <a:pt x="762072" y="0"/>
                    <a:pt x="795504" y="111439"/>
                  </a:cubicBezTo>
                  <a:cubicBezTo>
                    <a:pt x="798793" y="122404"/>
                    <a:pt x="808204" y="130489"/>
                    <a:pt x="814554" y="140014"/>
                  </a:cubicBezTo>
                  <a:cubicBezTo>
                    <a:pt x="808204" y="159064"/>
                    <a:pt x="806643" y="180456"/>
                    <a:pt x="795504" y="197164"/>
                  </a:cubicBezTo>
                  <a:cubicBezTo>
                    <a:pt x="789154" y="206689"/>
                    <a:pt x="781574" y="215500"/>
                    <a:pt x="776454" y="225739"/>
                  </a:cubicBezTo>
                  <a:cubicBezTo>
                    <a:pt x="737019" y="304609"/>
                    <a:pt x="802474" y="200997"/>
                    <a:pt x="747879" y="282889"/>
                  </a:cubicBezTo>
                  <a:lnTo>
                    <a:pt x="766929" y="340039"/>
                  </a:lnTo>
                  <a:lnTo>
                    <a:pt x="776454" y="368614"/>
                  </a:lnTo>
                  <a:lnTo>
                    <a:pt x="757404" y="425764"/>
                  </a:lnTo>
                  <a:lnTo>
                    <a:pt x="747879" y="454339"/>
                  </a:lnTo>
                  <a:cubicBezTo>
                    <a:pt x="751054" y="463864"/>
                    <a:pt x="751132" y="475074"/>
                    <a:pt x="757404" y="482914"/>
                  </a:cubicBezTo>
                  <a:cubicBezTo>
                    <a:pt x="764555" y="491853"/>
                    <a:pt x="783734" y="490739"/>
                    <a:pt x="785979" y="501964"/>
                  </a:cubicBezTo>
                  <a:cubicBezTo>
                    <a:pt x="801461" y="579376"/>
                    <a:pt x="790441" y="573502"/>
                    <a:pt x="747879" y="587689"/>
                  </a:cubicBezTo>
                  <a:cubicBezTo>
                    <a:pt x="732383" y="564444"/>
                    <a:pt x="731688" y="543492"/>
                    <a:pt x="700254" y="568639"/>
                  </a:cubicBezTo>
                  <a:cubicBezTo>
                    <a:pt x="691315" y="575790"/>
                    <a:pt x="685853" y="586753"/>
                    <a:pt x="681204" y="597214"/>
                  </a:cubicBezTo>
                  <a:cubicBezTo>
                    <a:pt x="673049" y="615564"/>
                    <a:pt x="662154" y="654364"/>
                    <a:pt x="662154" y="654364"/>
                  </a:cubicBezTo>
                  <a:cubicBezTo>
                    <a:pt x="665329" y="667064"/>
                    <a:pt x="663501" y="682242"/>
                    <a:pt x="671679" y="692464"/>
                  </a:cubicBezTo>
                  <a:cubicBezTo>
                    <a:pt x="682968" y="706575"/>
                    <a:pt x="730240" y="691053"/>
                    <a:pt x="690729" y="730564"/>
                  </a:cubicBezTo>
                  <a:cubicBezTo>
                    <a:pt x="674540" y="746753"/>
                    <a:pt x="652629" y="755964"/>
                    <a:pt x="633579" y="768664"/>
                  </a:cubicBezTo>
                  <a:lnTo>
                    <a:pt x="605004" y="787714"/>
                  </a:lnTo>
                  <a:cubicBezTo>
                    <a:pt x="627674" y="855724"/>
                    <a:pt x="612915" y="828156"/>
                    <a:pt x="643104" y="873439"/>
                  </a:cubicBezTo>
                  <a:cubicBezTo>
                    <a:pt x="646279" y="892489"/>
                    <a:pt x="639911" y="916055"/>
                    <a:pt x="652629" y="930589"/>
                  </a:cubicBezTo>
                  <a:cubicBezTo>
                    <a:pt x="665852" y="945701"/>
                    <a:pt x="690729" y="943289"/>
                    <a:pt x="709779" y="949639"/>
                  </a:cubicBezTo>
                  <a:lnTo>
                    <a:pt x="738354" y="959164"/>
                  </a:lnTo>
                  <a:cubicBezTo>
                    <a:pt x="761192" y="1027677"/>
                    <a:pt x="733484" y="942118"/>
                    <a:pt x="757404" y="1025839"/>
                  </a:cubicBezTo>
                  <a:cubicBezTo>
                    <a:pt x="760162" y="1035493"/>
                    <a:pt x="763754" y="1044889"/>
                    <a:pt x="766929" y="1054414"/>
                  </a:cubicBezTo>
                  <a:cubicBezTo>
                    <a:pt x="779629" y="1051239"/>
                    <a:pt x="792442" y="1048485"/>
                    <a:pt x="805029" y="1044889"/>
                  </a:cubicBezTo>
                  <a:cubicBezTo>
                    <a:pt x="814683" y="1042131"/>
                    <a:pt x="823564" y="1035364"/>
                    <a:pt x="833604" y="1035364"/>
                  </a:cubicBezTo>
                  <a:cubicBezTo>
                    <a:pt x="853322" y="1035364"/>
                    <a:pt x="876307" y="1054307"/>
                    <a:pt x="890754" y="1063939"/>
                  </a:cubicBezTo>
                  <a:lnTo>
                    <a:pt x="947904" y="1149664"/>
                  </a:lnTo>
                  <a:cubicBezTo>
                    <a:pt x="954254" y="1159189"/>
                    <a:pt x="963334" y="1167379"/>
                    <a:pt x="966954" y="1178239"/>
                  </a:cubicBezTo>
                  <a:lnTo>
                    <a:pt x="976479" y="1206814"/>
                  </a:lnTo>
                  <a:cubicBezTo>
                    <a:pt x="966954" y="1213164"/>
                    <a:pt x="955442" y="1217249"/>
                    <a:pt x="947904" y="1225864"/>
                  </a:cubicBezTo>
                  <a:cubicBezTo>
                    <a:pt x="912633" y="1266174"/>
                    <a:pt x="913361" y="1272342"/>
                    <a:pt x="900279" y="1311589"/>
                  </a:cubicBezTo>
                  <a:cubicBezTo>
                    <a:pt x="887579" y="1308414"/>
                    <a:pt x="874211" y="1307221"/>
                    <a:pt x="862179" y="1302064"/>
                  </a:cubicBezTo>
                  <a:cubicBezTo>
                    <a:pt x="851657" y="1297555"/>
                    <a:pt x="844829" y="1280769"/>
                    <a:pt x="833604" y="1283014"/>
                  </a:cubicBezTo>
                  <a:cubicBezTo>
                    <a:pt x="822379" y="1285259"/>
                    <a:pt x="820904" y="1302064"/>
                    <a:pt x="814554" y="1311589"/>
                  </a:cubicBezTo>
                  <a:cubicBezTo>
                    <a:pt x="811379" y="1330639"/>
                    <a:pt x="800345" y="1350003"/>
                    <a:pt x="805029" y="1368739"/>
                  </a:cubicBezTo>
                  <a:cubicBezTo>
                    <a:pt x="810582" y="1390951"/>
                    <a:pt x="843129" y="1425889"/>
                    <a:pt x="843129" y="1425889"/>
                  </a:cubicBezTo>
                  <a:cubicBezTo>
                    <a:pt x="824986" y="1480318"/>
                    <a:pt x="848572" y="1434960"/>
                    <a:pt x="805029" y="1463989"/>
                  </a:cubicBezTo>
                  <a:cubicBezTo>
                    <a:pt x="793821" y="1471461"/>
                    <a:pt x="788150" y="1485881"/>
                    <a:pt x="776454" y="1492564"/>
                  </a:cubicBezTo>
                  <a:cubicBezTo>
                    <a:pt x="765088" y="1499059"/>
                    <a:pt x="750893" y="1498327"/>
                    <a:pt x="738354" y="1502089"/>
                  </a:cubicBezTo>
                  <a:cubicBezTo>
                    <a:pt x="719120" y="1507859"/>
                    <a:pt x="700254" y="1514789"/>
                    <a:pt x="681204" y="1521139"/>
                  </a:cubicBezTo>
                  <a:cubicBezTo>
                    <a:pt x="671679" y="1524314"/>
                    <a:pt x="662474" y="1528695"/>
                    <a:pt x="652629" y="1530664"/>
                  </a:cubicBezTo>
                  <a:cubicBezTo>
                    <a:pt x="636754" y="1533839"/>
                    <a:pt x="620623" y="1535929"/>
                    <a:pt x="605004" y="1540189"/>
                  </a:cubicBezTo>
                  <a:cubicBezTo>
                    <a:pt x="585631" y="1545473"/>
                    <a:pt x="547854" y="1559239"/>
                    <a:pt x="547854" y="1559239"/>
                  </a:cubicBezTo>
                  <a:cubicBezTo>
                    <a:pt x="535154" y="1556064"/>
                    <a:pt x="519976" y="1557892"/>
                    <a:pt x="509754" y="1549714"/>
                  </a:cubicBezTo>
                  <a:cubicBezTo>
                    <a:pt x="501914" y="1543442"/>
                    <a:pt x="504719" y="1530119"/>
                    <a:pt x="500229" y="1521139"/>
                  </a:cubicBezTo>
                  <a:cubicBezTo>
                    <a:pt x="495109" y="1510900"/>
                    <a:pt x="490887" y="1498631"/>
                    <a:pt x="481179" y="1492564"/>
                  </a:cubicBezTo>
                  <a:cubicBezTo>
                    <a:pt x="464151" y="1481921"/>
                    <a:pt x="440737" y="1484653"/>
                    <a:pt x="424029" y="1473514"/>
                  </a:cubicBezTo>
                  <a:cubicBezTo>
                    <a:pt x="414504" y="1467164"/>
                    <a:pt x="405915" y="1459113"/>
                    <a:pt x="395454" y="1454464"/>
                  </a:cubicBezTo>
                  <a:cubicBezTo>
                    <a:pt x="377104" y="1446309"/>
                    <a:pt x="355012" y="1446553"/>
                    <a:pt x="338304" y="1435414"/>
                  </a:cubicBezTo>
                  <a:lnTo>
                    <a:pt x="281154" y="1397314"/>
                  </a:lnTo>
                  <a:cubicBezTo>
                    <a:pt x="274804" y="1387789"/>
                    <a:pt x="267224" y="1378978"/>
                    <a:pt x="262104" y="1368739"/>
                  </a:cubicBezTo>
                  <a:cubicBezTo>
                    <a:pt x="249270" y="1343072"/>
                    <a:pt x="257793" y="1332820"/>
                    <a:pt x="233529" y="1311589"/>
                  </a:cubicBezTo>
                  <a:cubicBezTo>
                    <a:pt x="216299" y="1296512"/>
                    <a:pt x="176379" y="1273489"/>
                    <a:pt x="176379" y="1273489"/>
                  </a:cubicBezTo>
                  <a:cubicBezTo>
                    <a:pt x="170029" y="1263964"/>
                    <a:pt x="160341" y="1255958"/>
                    <a:pt x="157329" y="1244914"/>
                  </a:cubicBezTo>
                  <a:cubicBezTo>
                    <a:pt x="150594" y="1220218"/>
                    <a:pt x="152383" y="1193899"/>
                    <a:pt x="147804" y="1168714"/>
                  </a:cubicBezTo>
                  <a:cubicBezTo>
                    <a:pt x="146008" y="1158836"/>
                    <a:pt x="141454" y="1149664"/>
                    <a:pt x="138279" y="1140139"/>
                  </a:cubicBezTo>
                  <a:cubicBezTo>
                    <a:pt x="144629" y="1130614"/>
                    <a:pt x="155447" y="1122856"/>
                    <a:pt x="157329" y="1111564"/>
                  </a:cubicBezTo>
                  <a:cubicBezTo>
                    <a:pt x="161930" y="1083959"/>
                    <a:pt x="135925" y="1075069"/>
                    <a:pt x="119229" y="1063939"/>
                  </a:cubicBezTo>
                  <a:cubicBezTo>
                    <a:pt x="114737" y="1050464"/>
                    <a:pt x="100179" y="1009224"/>
                    <a:pt x="100179" y="997264"/>
                  </a:cubicBezTo>
                  <a:cubicBezTo>
                    <a:pt x="100179" y="953484"/>
                    <a:pt x="109704" y="1002026"/>
                    <a:pt x="109704" y="997264"/>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40" name="Freeform 37"/>
            <p:cNvSpPr>
              <a:spLocks noChangeArrowheads="1"/>
            </p:cNvSpPr>
            <p:nvPr/>
          </p:nvSpPr>
          <p:spPr bwMode="auto">
            <a:xfrm>
              <a:off x="2158935" y="6806232"/>
              <a:ext cx="1407482" cy="1085822"/>
            </a:xfrm>
            <a:custGeom>
              <a:avLst/>
              <a:gdLst>
                <a:gd name="T0" fmla="*/ 0 w 1876425"/>
                <a:gd name="T1" fmla="*/ 0 h 1447800"/>
                <a:gd name="T2" fmla="*/ 1876425 w 1876425"/>
                <a:gd name="T3" fmla="*/ 1447800 h 1447800"/>
              </a:gdLst>
              <a:ahLst/>
              <a:cxnLst/>
              <a:rect l="T0" t="T1" r="T2" b="T3"/>
              <a:pathLst>
                <a:path w="1876425" h="1447800">
                  <a:moveTo>
                    <a:pt x="190500" y="1285875"/>
                  </a:moveTo>
                  <a:lnTo>
                    <a:pt x="152400" y="1171575"/>
                  </a:lnTo>
                  <a:lnTo>
                    <a:pt x="142875" y="1143000"/>
                  </a:lnTo>
                  <a:cubicBezTo>
                    <a:pt x="139700" y="1133475"/>
                    <a:pt x="135785" y="1124165"/>
                    <a:pt x="133350" y="1114425"/>
                  </a:cubicBezTo>
                  <a:lnTo>
                    <a:pt x="123825" y="1076325"/>
                  </a:lnTo>
                  <a:cubicBezTo>
                    <a:pt x="120650" y="1044575"/>
                    <a:pt x="118813" y="1012663"/>
                    <a:pt x="114300" y="981075"/>
                  </a:cubicBezTo>
                  <a:cubicBezTo>
                    <a:pt x="112449" y="968116"/>
                    <a:pt x="107342" y="955812"/>
                    <a:pt x="104775" y="942975"/>
                  </a:cubicBezTo>
                  <a:cubicBezTo>
                    <a:pt x="100987" y="924037"/>
                    <a:pt x="98425" y="904875"/>
                    <a:pt x="95250" y="885825"/>
                  </a:cubicBezTo>
                  <a:cubicBezTo>
                    <a:pt x="98425" y="876300"/>
                    <a:pt x="105884" y="867229"/>
                    <a:pt x="104775" y="857250"/>
                  </a:cubicBezTo>
                  <a:cubicBezTo>
                    <a:pt x="100012" y="814387"/>
                    <a:pt x="83344" y="807244"/>
                    <a:pt x="76200" y="771525"/>
                  </a:cubicBezTo>
                  <a:cubicBezTo>
                    <a:pt x="69653" y="738789"/>
                    <a:pt x="66118" y="717187"/>
                    <a:pt x="57150" y="685800"/>
                  </a:cubicBezTo>
                  <a:cubicBezTo>
                    <a:pt x="29821" y="590147"/>
                    <a:pt x="67877" y="738232"/>
                    <a:pt x="38100" y="619125"/>
                  </a:cubicBezTo>
                  <a:cubicBezTo>
                    <a:pt x="34925" y="581025"/>
                    <a:pt x="34860" y="542537"/>
                    <a:pt x="28575" y="504825"/>
                  </a:cubicBezTo>
                  <a:cubicBezTo>
                    <a:pt x="25274" y="485018"/>
                    <a:pt x="13463" y="467366"/>
                    <a:pt x="9525" y="447675"/>
                  </a:cubicBezTo>
                  <a:lnTo>
                    <a:pt x="0" y="400050"/>
                  </a:lnTo>
                  <a:cubicBezTo>
                    <a:pt x="83896" y="372085"/>
                    <a:pt x="31385" y="372880"/>
                    <a:pt x="85725" y="400050"/>
                  </a:cubicBezTo>
                  <a:cubicBezTo>
                    <a:pt x="94705" y="404540"/>
                    <a:pt x="104775" y="406400"/>
                    <a:pt x="114300" y="409575"/>
                  </a:cubicBezTo>
                  <a:cubicBezTo>
                    <a:pt x="182310" y="386905"/>
                    <a:pt x="154742" y="401664"/>
                    <a:pt x="200025" y="371475"/>
                  </a:cubicBezTo>
                  <a:cubicBezTo>
                    <a:pt x="206375" y="361950"/>
                    <a:pt x="214566" y="353422"/>
                    <a:pt x="219075" y="342900"/>
                  </a:cubicBezTo>
                  <a:cubicBezTo>
                    <a:pt x="224232" y="330868"/>
                    <a:pt x="218127" y="312655"/>
                    <a:pt x="228600" y="304800"/>
                  </a:cubicBezTo>
                  <a:cubicBezTo>
                    <a:pt x="236632" y="298776"/>
                    <a:pt x="247650" y="311150"/>
                    <a:pt x="257175" y="314325"/>
                  </a:cubicBezTo>
                  <a:cubicBezTo>
                    <a:pt x="269875" y="295275"/>
                    <a:pt x="302515" y="278895"/>
                    <a:pt x="295275" y="257175"/>
                  </a:cubicBezTo>
                  <a:lnTo>
                    <a:pt x="276225" y="200025"/>
                  </a:lnTo>
                  <a:cubicBezTo>
                    <a:pt x="279400" y="190500"/>
                    <a:pt x="279478" y="179290"/>
                    <a:pt x="285750" y="171450"/>
                  </a:cubicBezTo>
                  <a:cubicBezTo>
                    <a:pt x="292901" y="162511"/>
                    <a:pt x="306230" y="160495"/>
                    <a:pt x="314325" y="152400"/>
                  </a:cubicBezTo>
                  <a:cubicBezTo>
                    <a:pt x="322420" y="144305"/>
                    <a:pt x="327025" y="133350"/>
                    <a:pt x="333375" y="123825"/>
                  </a:cubicBezTo>
                  <a:cubicBezTo>
                    <a:pt x="330200" y="111125"/>
                    <a:pt x="332028" y="95947"/>
                    <a:pt x="323850" y="85725"/>
                  </a:cubicBezTo>
                  <a:cubicBezTo>
                    <a:pt x="317578" y="77885"/>
                    <a:pt x="302375" y="83300"/>
                    <a:pt x="295275" y="76200"/>
                  </a:cubicBezTo>
                  <a:cubicBezTo>
                    <a:pt x="288175" y="69100"/>
                    <a:pt x="288925" y="57150"/>
                    <a:pt x="285750" y="47625"/>
                  </a:cubicBezTo>
                  <a:cubicBezTo>
                    <a:pt x="288925" y="38100"/>
                    <a:pt x="287105" y="24886"/>
                    <a:pt x="295275" y="19050"/>
                  </a:cubicBezTo>
                  <a:cubicBezTo>
                    <a:pt x="311615" y="7378"/>
                    <a:pt x="352425" y="0"/>
                    <a:pt x="352425" y="0"/>
                  </a:cubicBezTo>
                  <a:cubicBezTo>
                    <a:pt x="365125" y="3175"/>
                    <a:pt x="377938" y="5929"/>
                    <a:pt x="390525" y="9525"/>
                  </a:cubicBezTo>
                  <a:cubicBezTo>
                    <a:pt x="400179" y="12283"/>
                    <a:pt x="413264" y="10880"/>
                    <a:pt x="419100" y="19050"/>
                  </a:cubicBezTo>
                  <a:cubicBezTo>
                    <a:pt x="430772" y="35390"/>
                    <a:pt x="438150" y="76200"/>
                    <a:pt x="438150" y="76200"/>
                  </a:cubicBezTo>
                  <a:cubicBezTo>
                    <a:pt x="450850" y="73025"/>
                    <a:pt x="463159" y="66675"/>
                    <a:pt x="476250" y="66675"/>
                  </a:cubicBezTo>
                  <a:cubicBezTo>
                    <a:pt x="507004" y="66675"/>
                    <a:pt x="519594" y="79696"/>
                    <a:pt x="542925" y="95250"/>
                  </a:cubicBezTo>
                  <a:cubicBezTo>
                    <a:pt x="549275" y="104775"/>
                    <a:pt x="553036" y="116674"/>
                    <a:pt x="561975" y="123825"/>
                  </a:cubicBezTo>
                  <a:cubicBezTo>
                    <a:pt x="569815" y="130097"/>
                    <a:pt x="580672" y="131554"/>
                    <a:pt x="590550" y="133350"/>
                  </a:cubicBezTo>
                  <a:cubicBezTo>
                    <a:pt x="615735" y="137929"/>
                    <a:pt x="641350" y="139700"/>
                    <a:pt x="666750" y="142875"/>
                  </a:cubicBezTo>
                  <a:cubicBezTo>
                    <a:pt x="679450" y="139700"/>
                    <a:pt x="691759" y="133350"/>
                    <a:pt x="704850" y="133350"/>
                  </a:cubicBezTo>
                  <a:cubicBezTo>
                    <a:pt x="781050" y="133350"/>
                    <a:pt x="685800" y="158750"/>
                    <a:pt x="762000" y="133350"/>
                  </a:cubicBezTo>
                  <a:cubicBezTo>
                    <a:pt x="771525" y="139700"/>
                    <a:pt x="782480" y="144305"/>
                    <a:pt x="790575" y="152400"/>
                  </a:cubicBezTo>
                  <a:cubicBezTo>
                    <a:pt x="854075" y="215900"/>
                    <a:pt x="762000" y="149225"/>
                    <a:pt x="838200" y="200025"/>
                  </a:cubicBezTo>
                  <a:cubicBezTo>
                    <a:pt x="910024" y="176084"/>
                    <a:pt x="821492" y="208379"/>
                    <a:pt x="895350" y="171450"/>
                  </a:cubicBezTo>
                  <a:cubicBezTo>
                    <a:pt x="974220" y="132015"/>
                    <a:pt x="870608" y="197470"/>
                    <a:pt x="952500" y="142875"/>
                  </a:cubicBezTo>
                  <a:cubicBezTo>
                    <a:pt x="1004799" y="64426"/>
                    <a:pt x="967882" y="88565"/>
                    <a:pt x="1066800" y="76200"/>
                  </a:cubicBezTo>
                  <a:cubicBezTo>
                    <a:pt x="1082675" y="79375"/>
                    <a:pt x="1102977" y="74277"/>
                    <a:pt x="1114425" y="85725"/>
                  </a:cubicBezTo>
                  <a:cubicBezTo>
                    <a:pt x="1125873" y="97173"/>
                    <a:pt x="1120023" y="117644"/>
                    <a:pt x="1123950" y="133350"/>
                  </a:cubicBezTo>
                  <a:cubicBezTo>
                    <a:pt x="1126385" y="143090"/>
                    <a:pt x="1130300" y="152400"/>
                    <a:pt x="1133475" y="161925"/>
                  </a:cubicBezTo>
                  <a:cubicBezTo>
                    <a:pt x="1146175" y="158750"/>
                    <a:pt x="1159036" y="156162"/>
                    <a:pt x="1171575" y="152400"/>
                  </a:cubicBezTo>
                  <a:cubicBezTo>
                    <a:pt x="1190809" y="146630"/>
                    <a:pt x="1209675" y="139700"/>
                    <a:pt x="1228725" y="133350"/>
                  </a:cubicBezTo>
                  <a:lnTo>
                    <a:pt x="1285875" y="114300"/>
                  </a:lnTo>
                  <a:lnTo>
                    <a:pt x="1314450" y="104775"/>
                  </a:lnTo>
                  <a:lnTo>
                    <a:pt x="1343025" y="95250"/>
                  </a:lnTo>
                  <a:cubicBezTo>
                    <a:pt x="1362075" y="98425"/>
                    <a:pt x="1380862" y="104775"/>
                    <a:pt x="1400175" y="104775"/>
                  </a:cubicBezTo>
                  <a:cubicBezTo>
                    <a:pt x="1419488" y="104775"/>
                    <a:pt x="1438324" y="98705"/>
                    <a:pt x="1457325" y="95250"/>
                  </a:cubicBezTo>
                  <a:cubicBezTo>
                    <a:pt x="1586053" y="71845"/>
                    <a:pt x="1445399" y="98231"/>
                    <a:pt x="1533525" y="76200"/>
                  </a:cubicBezTo>
                  <a:cubicBezTo>
                    <a:pt x="1549231" y="72273"/>
                    <a:pt x="1565275" y="69850"/>
                    <a:pt x="1581150" y="66675"/>
                  </a:cubicBezTo>
                  <a:cubicBezTo>
                    <a:pt x="1590675" y="69850"/>
                    <a:pt x="1600745" y="71710"/>
                    <a:pt x="1609725" y="76200"/>
                  </a:cubicBezTo>
                  <a:cubicBezTo>
                    <a:pt x="1619964" y="81320"/>
                    <a:pt x="1627008" y="93368"/>
                    <a:pt x="1638300" y="95250"/>
                  </a:cubicBezTo>
                  <a:cubicBezTo>
                    <a:pt x="1648204" y="96901"/>
                    <a:pt x="1657350" y="88900"/>
                    <a:pt x="1666875" y="85725"/>
                  </a:cubicBezTo>
                  <a:cubicBezTo>
                    <a:pt x="1676400" y="88900"/>
                    <a:pt x="1685410" y="95250"/>
                    <a:pt x="1695450" y="95250"/>
                  </a:cubicBezTo>
                  <a:cubicBezTo>
                    <a:pt x="1705490" y="95250"/>
                    <a:pt x="1714703" y="81996"/>
                    <a:pt x="1724025" y="85725"/>
                  </a:cubicBezTo>
                  <a:cubicBezTo>
                    <a:pt x="1734654" y="89977"/>
                    <a:pt x="1734980" y="106205"/>
                    <a:pt x="1743075" y="114300"/>
                  </a:cubicBezTo>
                  <a:cubicBezTo>
                    <a:pt x="1761539" y="132764"/>
                    <a:pt x="1776984" y="135128"/>
                    <a:pt x="1800225" y="142875"/>
                  </a:cubicBezTo>
                  <a:cubicBezTo>
                    <a:pt x="1839832" y="202285"/>
                    <a:pt x="1809750" y="140872"/>
                    <a:pt x="1809750" y="200025"/>
                  </a:cubicBezTo>
                  <a:cubicBezTo>
                    <a:pt x="1809750" y="261317"/>
                    <a:pt x="1812504" y="256543"/>
                    <a:pt x="1838325" y="295275"/>
                  </a:cubicBezTo>
                  <a:cubicBezTo>
                    <a:pt x="1829988" y="328621"/>
                    <a:pt x="1819275" y="365921"/>
                    <a:pt x="1819275" y="400050"/>
                  </a:cubicBezTo>
                  <a:cubicBezTo>
                    <a:pt x="1819275" y="410090"/>
                    <a:pt x="1825625" y="419100"/>
                    <a:pt x="1828800" y="428625"/>
                  </a:cubicBezTo>
                  <a:cubicBezTo>
                    <a:pt x="1815715" y="448253"/>
                    <a:pt x="1770048" y="484173"/>
                    <a:pt x="1800225" y="514350"/>
                  </a:cubicBezTo>
                  <a:cubicBezTo>
                    <a:pt x="1816414" y="530539"/>
                    <a:pt x="1857375" y="552450"/>
                    <a:pt x="1857375" y="552450"/>
                  </a:cubicBezTo>
                  <a:cubicBezTo>
                    <a:pt x="1863725" y="561975"/>
                    <a:pt x="1876425" y="569577"/>
                    <a:pt x="1876425" y="581025"/>
                  </a:cubicBezTo>
                  <a:cubicBezTo>
                    <a:pt x="1876425" y="592473"/>
                    <a:pt x="1866314" y="602449"/>
                    <a:pt x="1857375" y="609600"/>
                  </a:cubicBezTo>
                  <a:cubicBezTo>
                    <a:pt x="1851164" y="614569"/>
                    <a:pt x="1793189" y="628028"/>
                    <a:pt x="1790700" y="628650"/>
                  </a:cubicBezTo>
                  <a:cubicBezTo>
                    <a:pt x="1768030" y="696660"/>
                    <a:pt x="1782789" y="669092"/>
                    <a:pt x="1752600" y="714375"/>
                  </a:cubicBezTo>
                  <a:cubicBezTo>
                    <a:pt x="1749425" y="733425"/>
                    <a:pt x="1759843" y="761943"/>
                    <a:pt x="1743075" y="771525"/>
                  </a:cubicBezTo>
                  <a:cubicBezTo>
                    <a:pt x="1725640" y="781488"/>
                    <a:pt x="1685925" y="752475"/>
                    <a:pt x="1685925" y="752475"/>
                  </a:cubicBezTo>
                  <a:cubicBezTo>
                    <a:pt x="1676400" y="742950"/>
                    <a:pt x="1661610" y="736679"/>
                    <a:pt x="1657350" y="723900"/>
                  </a:cubicBezTo>
                  <a:cubicBezTo>
                    <a:pt x="1648258" y="696625"/>
                    <a:pt x="1651391" y="666704"/>
                    <a:pt x="1647825" y="638175"/>
                  </a:cubicBezTo>
                  <a:cubicBezTo>
                    <a:pt x="1645040" y="615898"/>
                    <a:pt x="1647418" y="592016"/>
                    <a:pt x="1638300" y="571500"/>
                  </a:cubicBezTo>
                  <a:cubicBezTo>
                    <a:pt x="1631878" y="557050"/>
                    <a:pt x="1593829" y="547151"/>
                    <a:pt x="1581150" y="542925"/>
                  </a:cubicBezTo>
                  <a:cubicBezTo>
                    <a:pt x="1571625" y="546100"/>
                    <a:pt x="1561555" y="547960"/>
                    <a:pt x="1552575" y="552450"/>
                  </a:cubicBezTo>
                  <a:cubicBezTo>
                    <a:pt x="1542336" y="557570"/>
                    <a:pt x="1535292" y="569618"/>
                    <a:pt x="1524000" y="571500"/>
                  </a:cubicBezTo>
                  <a:cubicBezTo>
                    <a:pt x="1514096" y="573151"/>
                    <a:pt x="1505165" y="564410"/>
                    <a:pt x="1495425" y="561975"/>
                  </a:cubicBezTo>
                  <a:cubicBezTo>
                    <a:pt x="1479719" y="558048"/>
                    <a:pt x="1463675" y="555625"/>
                    <a:pt x="1447800" y="552450"/>
                  </a:cubicBezTo>
                  <a:cubicBezTo>
                    <a:pt x="1403179" y="567324"/>
                    <a:pt x="1408186" y="570221"/>
                    <a:pt x="1343025" y="552450"/>
                  </a:cubicBezTo>
                  <a:cubicBezTo>
                    <a:pt x="1331981" y="549438"/>
                    <a:pt x="1323975" y="539750"/>
                    <a:pt x="1314450" y="533400"/>
                  </a:cubicBezTo>
                  <a:cubicBezTo>
                    <a:pt x="1304925" y="536575"/>
                    <a:pt x="1293715" y="536653"/>
                    <a:pt x="1285875" y="542925"/>
                  </a:cubicBezTo>
                  <a:cubicBezTo>
                    <a:pt x="1241267" y="578611"/>
                    <a:pt x="1287976" y="561730"/>
                    <a:pt x="1257300" y="600075"/>
                  </a:cubicBezTo>
                  <a:cubicBezTo>
                    <a:pt x="1250149" y="609014"/>
                    <a:pt x="1238250" y="612775"/>
                    <a:pt x="1228725" y="619125"/>
                  </a:cubicBezTo>
                  <a:cubicBezTo>
                    <a:pt x="1198536" y="664408"/>
                    <a:pt x="1213295" y="636840"/>
                    <a:pt x="1190625" y="704850"/>
                  </a:cubicBezTo>
                  <a:lnTo>
                    <a:pt x="1181100" y="733425"/>
                  </a:lnTo>
                  <a:cubicBezTo>
                    <a:pt x="1184275" y="742950"/>
                    <a:pt x="1192276" y="752096"/>
                    <a:pt x="1190625" y="762000"/>
                  </a:cubicBezTo>
                  <a:cubicBezTo>
                    <a:pt x="1185556" y="792412"/>
                    <a:pt x="1165288" y="792671"/>
                    <a:pt x="1143000" y="800100"/>
                  </a:cubicBezTo>
                  <a:cubicBezTo>
                    <a:pt x="1136650" y="809625"/>
                    <a:pt x="1133475" y="822325"/>
                    <a:pt x="1123950" y="828675"/>
                  </a:cubicBezTo>
                  <a:cubicBezTo>
                    <a:pt x="1113058" y="835937"/>
                    <a:pt x="1098437" y="834604"/>
                    <a:pt x="1085850" y="838200"/>
                  </a:cubicBezTo>
                  <a:cubicBezTo>
                    <a:pt x="1076196" y="840958"/>
                    <a:pt x="1066800" y="844550"/>
                    <a:pt x="1057275" y="847725"/>
                  </a:cubicBezTo>
                  <a:cubicBezTo>
                    <a:pt x="1047750" y="857250"/>
                    <a:pt x="1039908" y="868828"/>
                    <a:pt x="1028700" y="876300"/>
                  </a:cubicBezTo>
                  <a:cubicBezTo>
                    <a:pt x="977351" y="910533"/>
                    <a:pt x="1020634" y="851291"/>
                    <a:pt x="971550" y="914400"/>
                  </a:cubicBezTo>
                  <a:cubicBezTo>
                    <a:pt x="957494" y="932472"/>
                    <a:pt x="952500" y="958850"/>
                    <a:pt x="933450" y="971550"/>
                  </a:cubicBezTo>
                  <a:lnTo>
                    <a:pt x="876300" y="1009650"/>
                  </a:lnTo>
                  <a:cubicBezTo>
                    <a:pt x="832631" y="1075154"/>
                    <a:pt x="859920" y="1059560"/>
                    <a:pt x="809625" y="1076325"/>
                  </a:cubicBezTo>
                  <a:cubicBezTo>
                    <a:pt x="800100" y="1073150"/>
                    <a:pt x="791090" y="1066800"/>
                    <a:pt x="781050" y="1066800"/>
                  </a:cubicBezTo>
                  <a:cubicBezTo>
                    <a:pt x="771010" y="1066800"/>
                    <a:pt x="762276" y="1074147"/>
                    <a:pt x="752475" y="1076325"/>
                  </a:cubicBezTo>
                  <a:cubicBezTo>
                    <a:pt x="733622" y="1080515"/>
                    <a:pt x="714375" y="1082675"/>
                    <a:pt x="695325" y="1085850"/>
                  </a:cubicBezTo>
                  <a:cubicBezTo>
                    <a:pt x="698500" y="1098550"/>
                    <a:pt x="701254" y="1111363"/>
                    <a:pt x="704850" y="1123950"/>
                  </a:cubicBezTo>
                  <a:cubicBezTo>
                    <a:pt x="707608" y="1133604"/>
                    <a:pt x="718865" y="1143545"/>
                    <a:pt x="714375" y="1152525"/>
                  </a:cubicBezTo>
                  <a:cubicBezTo>
                    <a:pt x="709885" y="1161505"/>
                    <a:pt x="695540" y="1159615"/>
                    <a:pt x="685800" y="1162050"/>
                  </a:cubicBezTo>
                  <a:cubicBezTo>
                    <a:pt x="670094" y="1165977"/>
                    <a:pt x="653794" y="1167315"/>
                    <a:pt x="638175" y="1171575"/>
                  </a:cubicBezTo>
                  <a:cubicBezTo>
                    <a:pt x="618802" y="1176859"/>
                    <a:pt x="597733" y="1179486"/>
                    <a:pt x="581025" y="1190625"/>
                  </a:cubicBezTo>
                  <a:cubicBezTo>
                    <a:pt x="544096" y="1215244"/>
                    <a:pt x="563310" y="1206055"/>
                    <a:pt x="523875" y="1219200"/>
                  </a:cubicBezTo>
                  <a:cubicBezTo>
                    <a:pt x="514350" y="1216025"/>
                    <a:pt x="505340" y="1209675"/>
                    <a:pt x="495300" y="1209675"/>
                  </a:cubicBezTo>
                  <a:cubicBezTo>
                    <a:pt x="482209" y="1209675"/>
                    <a:pt x="469787" y="1215604"/>
                    <a:pt x="457200" y="1219200"/>
                  </a:cubicBezTo>
                  <a:cubicBezTo>
                    <a:pt x="422694" y="1229059"/>
                    <a:pt x="431359" y="1226903"/>
                    <a:pt x="400050" y="1247775"/>
                  </a:cubicBezTo>
                  <a:cubicBezTo>
                    <a:pt x="396039" y="1253792"/>
                    <a:pt x="366546" y="1292602"/>
                    <a:pt x="371475" y="1304925"/>
                  </a:cubicBezTo>
                  <a:cubicBezTo>
                    <a:pt x="375727" y="1315554"/>
                    <a:pt x="390525" y="1317625"/>
                    <a:pt x="400050" y="1323975"/>
                  </a:cubicBezTo>
                  <a:cubicBezTo>
                    <a:pt x="406400" y="1333500"/>
                    <a:pt x="417218" y="1341258"/>
                    <a:pt x="419100" y="1352550"/>
                  </a:cubicBezTo>
                  <a:cubicBezTo>
                    <a:pt x="420751" y="1362454"/>
                    <a:pt x="416675" y="1374025"/>
                    <a:pt x="409575" y="1381125"/>
                  </a:cubicBezTo>
                  <a:cubicBezTo>
                    <a:pt x="385927" y="1404773"/>
                    <a:pt x="355790" y="1420765"/>
                    <a:pt x="323850" y="1428750"/>
                  </a:cubicBezTo>
                  <a:cubicBezTo>
                    <a:pt x="308144" y="1432677"/>
                    <a:pt x="291931" y="1434348"/>
                    <a:pt x="276225" y="1438275"/>
                  </a:cubicBezTo>
                  <a:cubicBezTo>
                    <a:pt x="266485" y="1440710"/>
                    <a:pt x="257175" y="1444625"/>
                    <a:pt x="247650" y="1447800"/>
                  </a:cubicBezTo>
                  <a:cubicBezTo>
                    <a:pt x="244475" y="1438275"/>
                    <a:pt x="243001" y="1428002"/>
                    <a:pt x="238125" y="1419225"/>
                  </a:cubicBezTo>
                  <a:cubicBezTo>
                    <a:pt x="227006" y="1399211"/>
                    <a:pt x="200025" y="1362075"/>
                    <a:pt x="200025" y="1362075"/>
                  </a:cubicBezTo>
                  <a:cubicBezTo>
                    <a:pt x="196850" y="1349375"/>
                    <a:pt x="194096" y="1336562"/>
                    <a:pt x="190500" y="1323975"/>
                  </a:cubicBezTo>
                  <a:cubicBezTo>
                    <a:pt x="187742" y="1314321"/>
                    <a:pt x="180975" y="1305440"/>
                    <a:pt x="180975" y="1295400"/>
                  </a:cubicBezTo>
                  <a:cubicBezTo>
                    <a:pt x="180975" y="1279211"/>
                    <a:pt x="187838" y="1263744"/>
                    <a:pt x="190500" y="1247775"/>
                  </a:cubicBezTo>
                  <a:cubicBezTo>
                    <a:pt x="191022" y="1244643"/>
                    <a:pt x="190500" y="1241425"/>
                    <a:pt x="190500" y="1285875"/>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41" name="Freeform 174"/>
            <p:cNvSpPr>
              <a:spLocks noChangeArrowheads="1"/>
            </p:cNvSpPr>
            <p:nvPr/>
          </p:nvSpPr>
          <p:spPr bwMode="auto">
            <a:xfrm>
              <a:off x="1202943" y="5613258"/>
              <a:ext cx="795050" cy="905154"/>
            </a:xfrm>
            <a:custGeom>
              <a:avLst/>
              <a:gdLst>
                <a:gd name="T0" fmla="*/ 0 w 1031370"/>
                <a:gd name="T1" fmla="*/ 0 h 1197071"/>
                <a:gd name="T2" fmla="*/ 1031370 w 1031370"/>
                <a:gd name="T3" fmla="*/ 1197071 h 1197071"/>
              </a:gdLst>
              <a:ahLst/>
              <a:cxnLst/>
              <a:rect l="T0" t="T1" r="T2" b="T3"/>
              <a:pathLst>
                <a:path w="1031370" h="1197071">
                  <a:moveTo>
                    <a:pt x="450345" y="37794"/>
                  </a:moveTo>
                  <a:cubicBezTo>
                    <a:pt x="459870" y="28269"/>
                    <a:pt x="467876" y="21756"/>
                    <a:pt x="478920" y="18744"/>
                  </a:cubicBezTo>
                  <a:cubicBezTo>
                    <a:pt x="547650" y="0"/>
                    <a:pt x="619574" y="13823"/>
                    <a:pt x="688470" y="18744"/>
                  </a:cubicBezTo>
                  <a:cubicBezTo>
                    <a:pt x="697995" y="21919"/>
                    <a:pt x="709945" y="21169"/>
                    <a:pt x="717045" y="28269"/>
                  </a:cubicBezTo>
                  <a:cubicBezTo>
                    <a:pt x="724145" y="35369"/>
                    <a:pt x="721001" y="48490"/>
                    <a:pt x="726570" y="56844"/>
                  </a:cubicBezTo>
                  <a:cubicBezTo>
                    <a:pt x="734042" y="68052"/>
                    <a:pt x="745620" y="75894"/>
                    <a:pt x="755145" y="85419"/>
                  </a:cubicBezTo>
                  <a:cubicBezTo>
                    <a:pt x="779086" y="157243"/>
                    <a:pt x="746791" y="68711"/>
                    <a:pt x="783720" y="142569"/>
                  </a:cubicBezTo>
                  <a:cubicBezTo>
                    <a:pt x="823155" y="221439"/>
                    <a:pt x="757700" y="117827"/>
                    <a:pt x="812295" y="199719"/>
                  </a:cubicBezTo>
                  <a:cubicBezTo>
                    <a:pt x="804548" y="222960"/>
                    <a:pt x="802184" y="238405"/>
                    <a:pt x="783720" y="256869"/>
                  </a:cubicBezTo>
                  <a:cubicBezTo>
                    <a:pt x="775625" y="264964"/>
                    <a:pt x="764670" y="269569"/>
                    <a:pt x="755145" y="275919"/>
                  </a:cubicBezTo>
                  <a:cubicBezTo>
                    <a:pt x="700550" y="357811"/>
                    <a:pt x="766005" y="254199"/>
                    <a:pt x="726570" y="333069"/>
                  </a:cubicBezTo>
                  <a:cubicBezTo>
                    <a:pt x="721450" y="343308"/>
                    <a:pt x="713870" y="352119"/>
                    <a:pt x="707520" y="361644"/>
                  </a:cubicBezTo>
                  <a:cubicBezTo>
                    <a:pt x="710695" y="387044"/>
                    <a:pt x="704614" y="415468"/>
                    <a:pt x="717045" y="437844"/>
                  </a:cubicBezTo>
                  <a:cubicBezTo>
                    <a:pt x="749437" y="496150"/>
                    <a:pt x="771133" y="399405"/>
                    <a:pt x="745620" y="475944"/>
                  </a:cubicBezTo>
                  <a:cubicBezTo>
                    <a:pt x="755145" y="482294"/>
                    <a:pt x="763673" y="490485"/>
                    <a:pt x="774195" y="494994"/>
                  </a:cubicBezTo>
                  <a:cubicBezTo>
                    <a:pt x="786227" y="500151"/>
                    <a:pt x="802073" y="496341"/>
                    <a:pt x="812295" y="504519"/>
                  </a:cubicBezTo>
                  <a:cubicBezTo>
                    <a:pt x="820135" y="510791"/>
                    <a:pt x="818645" y="523569"/>
                    <a:pt x="821820" y="533094"/>
                  </a:cubicBezTo>
                  <a:cubicBezTo>
                    <a:pt x="812584" y="560803"/>
                    <a:pt x="780256" y="619685"/>
                    <a:pt x="821820" y="647394"/>
                  </a:cubicBezTo>
                  <a:lnTo>
                    <a:pt x="850395" y="666444"/>
                  </a:lnTo>
                  <a:cubicBezTo>
                    <a:pt x="853570" y="675969"/>
                    <a:pt x="852820" y="687919"/>
                    <a:pt x="859920" y="695019"/>
                  </a:cubicBezTo>
                  <a:cubicBezTo>
                    <a:pt x="878970" y="714069"/>
                    <a:pt x="898020" y="701369"/>
                    <a:pt x="917070" y="695019"/>
                  </a:cubicBezTo>
                  <a:cubicBezTo>
                    <a:pt x="920245" y="704544"/>
                    <a:pt x="924417" y="713793"/>
                    <a:pt x="926595" y="723594"/>
                  </a:cubicBezTo>
                  <a:cubicBezTo>
                    <a:pt x="930785" y="742447"/>
                    <a:pt x="930013" y="762422"/>
                    <a:pt x="936120" y="780744"/>
                  </a:cubicBezTo>
                  <a:cubicBezTo>
                    <a:pt x="942751" y="800636"/>
                    <a:pt x="970482" y="824631"/>
                    <a:pt x="983745" y="837894"/>
                  </a:cubicBezTo>
                  <a:cubicBezTo>
                    <a:pt x="990095" y="856944"/>
                    <a:pt x="991656" y="878336"/>
                    <a:pt x="1002795" y="895044"/>
                  </a:cubicBezTo>
                  <a:cubicBezTo>
                    <a:pt x="1027414" y="931973"/>
                    <a:pt x="1018225" y="912759"/>
                    <a:pt x="1031370" y="952194"/>
                  </a:cubicBezTo>
                  <a:cubicBezTo>
                    <a:pt x="1028195" y="964894"/>
                    <a:pt x="1025441" y="977707"/>
                    <a:pt x="1021845" y="990294"/>
                  </a:cubicBezTo>
                  <a:cubicBezTo>
                    <a:pt x="1019087" y="999948"/>
                    <a:pt x="1012320" y="1008829"/>
                    <a:pt x="1012320" y="1018869"/>
                  </a:cubicBezTo>
                  <a:cubicBezTo>
                    <a:pt x="1012320" y="1028909"/>
                    <a:pt x="1018670" y="1037919"/>
                    <a:pt x="1021845" y="1047444"/>
                  </a:cubicBezTo>
                  <a:cubicBezTo>
                    <a:pt x="1012320" y="1050619"/>
                    <a:pt x="1002250" y="1052479"/>
                    <a:pt x="993270" y="1056969"/>
                  </a:cubicBezTo>
                  <a:cubicBezTo>
                    <a:pt x="983031" y="1062089"/>
                    <a:pt x="975987" y="1074137"/>
                    <a:pt x="964695" y="1076019"/>
                  </a:cubicBezTo>
                  <a:cubicBezTo>
                    <a:pt x="954791" y="1077670"/>
                    <a:pt x="945645" y="1069669"/>
                    <a:pt x="936120" y="1066494"/>
                  </a:cubicBezTo>
                  <a:cubicBezTo>
                    <a:pt x="931638" y="1053047"/>
                    <a:pt x="927902" y="1016441"/>
                    <a:pt x="898020" y="1028394"/>
                  </a:cubicBezTo>
                  <a:cubicBezTo>
                    <a:pt x="887391" y="1032646"/>
                    <a:pt x="889431" y="1052320"/>
                    <a:pt x="878970" y="1056969"/>
                  </a:cubicBezTo>
                  <a:cubicBezTo>
                    <a:pt x="858454" y="1066087"/>
                    <a:pt x="834520" y="1063319"/>
                    <a:pt x="812295" y="1066494"/>
                  </a:cubicBezTo>
                  <a:cubicBezTo>
                    <a:pt x="802770" y="1069669"/>
                    <a:pt x="793760" y="1076019"/>
                    <a:pt x="783720" y="1076019"/>
                  </a:cubicBezTo>
                  <a:cubicBezTo>
                    <a:pt x="750193" y="1076019"/>
                    <a:pt x="727462" y="1066791"/>
                    <a:pt x="697995" y="1056969"/>
                  </a:cubicBezTo>
                  <a:cubicBezTo>
                    <a:pt x="659895" y="1060144"/>
                    <a:pt x="621927" y="1066494"/>
                    <a:pt x="583695" y="1066494"/>
                  </a:cubicBezTo>
                  <a:cubicBezTo>
                    <a:pt x="561244" y="1066494"/>
                    <a:pt x="533916" y="1042185"/>
                    <a:pt x="517020" y="1056969"/>
                  </a:cubicBezTo>
                  <a:cubicBezTo>
                    <a:pt x="497756" y="1073825"/>
                    <a:pt x="510670" y="1107769"/>
                    <a:pt x="507495" y="1133169"/>
                  </a:cubicBezTo>
                  <a:cubicBezTo>
                    <a:pt x="501145" y="1123644"/>
                    <a:pt x="499804" y="1106014"/>
                    <a:pt x="488445" y="1104594"/>
                  </a:cubicBezTo>
                  <a:cubicBezTo>
                    <a:pt x="459809" y="1101015"/>
                    <a:pt x="425556" y="1127470"/>
                    <a:pt x="402720" y="1142694"/>
                  </a:cubicBezTo>
                  <a:cubicBezTo>
                    <a:pt x="396370" y="1152219"/>
                    <a:pt x="392609" y="1164118"/>
                    <a:pt x="383670" y="1171269"/>
                  </a:cubicBezTo>
                  <a:cubicBezTo>
                    <a:pt x="351418" y="1197071"/>
                    <a:pt x="349983" y="1171771"/>
                    <a:pt x="326520" y="1152219"/>
                  </a:cubicBezTo>
                  <a:cubicBezTo>
                    <a:pt x="317726" y="1144890"/>
                    <a:pt x="307470" y="1139519"/>
                    <a:pt x="297945" y="1133169"/>
                  </a:cubicBezTo>
                  <a:cubicBezTo>
                    <a:pt x="288420" y="1136344"/>
                    <a:pt x="279410" y="1142694"/>
                    <a:pt x="269370" y="1142694"/>
                  </a:cubicBezTo>
                  <a:cubicBezTo>
                    <a:pt x="256279" y="1142694"/>
                    <a:pt x="242162" y="1140431"/>
                    <a:pt x="231270" y="1133169"/>
                  </a:cubicBezTo>
                  <a:cubicBezTo>
                    <a:pt x="210797" y="1119520"/>
                    <a:pt x="212203" y="1095036"/>
                    <a:pt x="202695" y="1076019"/>
                  </a:cubicBezTo>
                  <a:cubicBezTo>
                    <a:pt x="197575" y="1065780"/>
                    <a:pt x="189995" y="1056969"/>
                    <a:pt x="183645" y="1047444"/>
                  </a:cubicBezTo>
                  <a:cubicBezTo>
                    <a:pt x="180470" y="1028394"/>
                    <a:pt x="178310" y="1009147"/>
                    <a:pt x="174120" y="990294"/>
                  </a:cubicBezTo>
                  <a:cubicBezTo>
                    <a:pt x="171942" y="980493"/>
                    <a:pt x="164595" y="971759"/>
                    <a:pt x="164595" y="961719"/>
                  </a:cubicBezTo>
                  <a:cubicBezTo>
                    <a:pt x="164595" y="951679"/>
                    <a:pt x="170945" y="942669"/>
                    <a:pt x="174120" y="933144"/>
                  </a:cubicBezTo>
                  <a:cubicBezTo>
                    <a:pt x="170945" y="923619"/>
                    <a:pt x="171695" y="911669"/>
                    <a:pt x="164595" y="904569"/>
                  </a:cubicBezTo>
                  <a:cubicBezTo>
                    <a:pt x="145545" y="885519"/>
                    <a:pt x="126495" y="898219"/>
                    <a:pt x="107445" y="904569"/>
                  </a:cubicBezTo>
                  <a:cubicBezTo>
                    <a:pt x="101095" y="895044"/>
                    <a:pt x="93515" y="886233"/>
                    <a:pt x="88395" y="875994"/>
                  </a:cubicBezTo>
                  <a:cubicBezTo>
                    <a:pt x="83905" y="867014"/>
                    <a:pt x="85970" y="854519"/>
                    <a:pt x="78870" y="847419"/>
                  </a:cubicBezTo>
                  <a:cubicBezTo>
                    <a:pt x="71770" y="840319"/>
                    <a:pt x="59820" y="841069"/>
                    <a:pt x="50295" y="837894"/>
                  </a:cubicBezTo>
                  <a:cubicBezTo>
                    <a:pt x="0" y="854659"/>
                    <a:pt x="16151" y="855773"/>
                    <a:pt x="59820" y="790269"/>
                  </a:cubicBezTo>
                  <a:cubicBezTo>
                    <a:pt x="84439" y="753340"/>
                    <a:pt x="68010" y="765314"/>
                    <a:pt x="107445" y="752169"/>
                  </a:cubicBezTo>
                  <a:cubicBezTo>
                    <a:pt x="116159" y="739097"/>
                    <a:pt x="139354" y="700258"/>
                    <a:pt x="155070" y="695019"/>
                  </a:cubicBezTo>
                  <a:lnTo>
                    <a:pt x="183645" y="704544"/>
                  </a:lnTo>
                  <a:cubicBezTo>
                    <a:pt x="202695" y="698194"/>
                    <a:pt x="247145" y="704544"/>
                    <a:pt x="240795" y="685494"/>
                  </a:cubicBezTo>
                  <a:lnTo>
                    <a:pt x="212220" y="599769"/>
                  </a:lnTo>
                  <a:lnTo>
                    <a:pt x="202695" y="571194"/>
                  </a:lnTo>
                  <a:cubicBezTo>
                    <a:pt x="199520" y="561669"/>
                    <a:pt x="195605" y="552359"/>
                    <a:pt x="193170" y="542619"/>
                  </a:cubicBezTo>
                  <a:cubicBezTo>
                    <a:pt x="186820" y="517219"/>
                    <a:pt x="182399" y="491257"/>
                    <a:pt x="174120" y="466419"/>
                  </a:cubicBezTo>
                  <a:lnTo>
                    <a:pt x="155070" y="409269"/>
                  </a:lnTo>
                  <a:cubicBezTo>
                    <a:pt x="148518" y="356852"/>
                    <a:pt x="133164" y="323065"/>
                    <a:pt x="164595" y="275919"/>
                  </a:cubicBezTo>
                  <a:lnTo>
                    <a:pt x="202695" y="218769"/>
                  </a:lnTo>
                  <a:cubicBezTo>
                    <a:pt x="205870" y="206069"/>
                    <a:pt x="208624" y="193256"/>
                    <a:pt x="212220" y="180669"/>
                  </a:cubicBezTo>
                  <a:cubicBezTo>
                    <a:pt x="214978" y="171015"/>
                    <a:pt x="212765" y="156584"/>
                    <a:pt x="221745" y="152094"/>
                  </a:cubicBezTo>
                  <a:cubicBezTo>
                    <a:pt x="230725" y="147604"/>
                    <a:pt x="240795" y="158444"/>
                    <a:pt x="250320" y="161619"/>
                  </a:cubicBezTo>
                  <a:cubicBezTo>
                    <a:pt x="269370" y="155269"/>
                    <a:pt x="290762" y="153708"/>
                    <a:pt x="307470" y="142569"/>
                  </a:cubicBezTo>
                  <a:lnTo>
                    <a:pt x="364620" y="104469"/>
                  </a:lnTo>
                  <a:cubicBezTo>
                    <a:pt x="374145" y="98119"/>
                    <a:pt x="382335" y="89039"/>
                    <a:pt x="393195" y="85419"/>
                  </a:cubicBezTo>
                  <a:lnTo>
                    <a:pt x="421770" y="75894"/>
                  </a:lnTo>
                  <a:cubicBezTo>
                    <a:pt x="463808" y="12837"/>
                    <a:pt x="440820" y="47319"/>
                    <a:pt x="450345" y="37794"/>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42" name="Freeform 175"/>
            <p:cNvSpPr>
              <a:spLocks noChangeArrowheads="1"/>
            </p:cNvSpPr>
            <p:nvPr/>
          </p:nvSpPr>
          <p:spPr bwMode="auto">
            <a:xfrm>
              <a:off x="304799" y="5002950"/>
              <a:ext cx="1543158" cy="1280868"/>
            </a:xfrm>
            <a:custGeom>
              <a:avLst/>
              <a:gdLst>
                <a:gd name="T0" fmla="*/ 0 w 2057307"/>
                <a:gd name="T1" fmla="*/ 0 h 1707869"/>
                <a:gd name="T2" fmla="*/ 2057307 w 2057307"/>
                <a:gd name="T3" fmla="*/ 1707869 h 1707869"/>
              </a:gdLst>
              <a:ahLst/>
              <a:cxnLst/>
              <a:rect l="T0" t="T1" r="T2" b="T3"/>
              <a:pathLst>
                <a:path w="2057307" h="1707869">
                  <a:moveTo>
                    <a:pt x="1742982" y="89865"/>
                  </a:moveTo>
                  <a:cubicBezTo>
                    <a:pt x="1752507" y="91453"/>
                    <a:pt x="1732399" y="84221"/>
                    <a:pt x="1800132" y="89865"/>
                  </a:cubicBezTo>
                  <a:cubicBezTo>
                    <a:pt x="1828784" y="92253"/>
                    <a:pt x="1857282" y="83515"/>
                    <a:pt x="1885857" y="80340"/>
                  </a:cubicBezTo>
                  <a:cubicBezTo>
                    <a:pt x="1934977" y="47594"/>
                    <a:pt x="1928472" y="30210"/>
                    <a:pt x="1971582" y="51765"/>
                  </a:cubicBezTo>
                  <a:cubicBezTo>
                    <a:pt x="1981821" y="56885"/>
                    <a:pt x="1990632" y="64465"/>
                    <a:pt x="2000157" y="70815"/>
                  </a:cubicBezTo>
                  <a:cubicBezTo>
                    <a:pt x="2003332" y="80340"/>
                    <a:pt x="2003410" y="91550"/>
                    <a:pt x="2009682" y="99390"/>
                  </a:cubicBezTo>
                  <a:cubicBezTo>
                    <a:pt x="2016833" y="108329"/>
                    <a:pt x="2030162" y="110345"/>
                    <a:pt x="2038257" y="118440"/>
                  </a:cubicBezTo>
                  <a:cubicBezTo>
                    <a:pt x="2046352" y="126535"/>
                    <a:pt x="2050957" y="137490"/>
                    <a:pt x="2057307" y="147015"/>
                  </a:cubicBezTo>
                  <a:cubicBezTo>
                    <a:pt x="2054132" y="156540"/>
                    <a:pt x="2052272" y="166610"/>
                    <a:pt x="2047782" y="175590"/>
                  </a:cubicBezTo>
                  <a:cubicBezTo>
                    <a:pt x="2042662" y="185829"/>
                    <a:pt x="2033381" y="193704"/>
                    <a:pt x="2028732" y="204165"/>
                  </a:cubicBezTo>
                  <a:cubicBezTo>
                    <a:pt x="2020577" y="222515"/>
                    <a:pt x="2016032" y="242265"/>
                    <a:pt x="2009682" y="261315"/>
                  </a:cubicBezTo>
                  <a:lnTo>
                    <a:pt x="2000157" y="289890"/>
                  </a:lnTo>
                  <a:cubicBezTo>
                    <a:pt x="1996982" y="318465"/>
                    <a:pt x="1995359" y="347255"/>
                    <a:pt x="1990632" y="375615"/>
                  </a:cubicBezTo>
                  <a:cubicBezTo>
                    <a:pt x="1988981" y="385519"/>
                    <a:pt x="1981107" y="394150"/>
                    <a:pt x="1981107" y="404190"/>
                  </a:cubicBezTo>
                  <a:cubicBezTo>
                    <a:pt x="1981107" y="417281"/>
                    <a:pt x="1987457" y="429590"/>
                    <a:pt x="1990632" y="442290"/>
                  </a:cubicBezTo>
                  <a:cubicBezTo>
                    <a:pt x="1987457" y="451815"/>
                    <a:pt x="1985983" y="462088"/>
                    <a:pt x="1981107" y="470865"/>
                  </a:cubicBezTo>
                  <a:cubicBezTo>
                    <a:pt x="1952624" y="522134"/>
                    <a:pt x="1949142" y="521880"/>
                    <a:pt x="1914432" y="556590"/>
                  </a:cubicBezTo>
                  <a:cubicBezTo>
                    <a:pt x="1911257" y="566115"/>
                    <a:pt x="1911179" y="577325"/>
                    <a:pt x="1904907" y="585165"/>
                  </a:cubicBezTo>
                  <a:cubicBezTo>
                    <a:pt x="1897756" y="594104"/>
                    <a:pt x="1880584" y="593586"/>
                    <a:pt x="1876332" y="604215"/>
                  </a:cubicBezTo>
                  <a:cubicBezTo>
                    <a:pt x="1866646" y="628430"/>
                    <a:pt x="1903534" y="644575"/>
                    <a:pt x="1914432" y="651840"/>
                  </a:cubicBezTo>
                  <a:cubicBezTo>
                    <a:pt x="1911380" y="664047"/>
                    <a:pt x="1902214" y="704850"/>
                    <a:pt x="1895382" y="718515"/>
                  </a:cubicBezTo>
                  <a:cubicBezTo>
                    <a:pt x="1890262" y="728754"/>
                    <a:pt x="1882682" y="737565"/>
                    <a:pt x="1876332" y="747090"/>
                  </a:cubicBezTo>
                  <a:cubicBezTo>
                    <a:pt x="1873157" y="766140"/>
                    <a:pt x="1870997" y="785387"/>
                    <a:pt x="1866807" y="804240"/>
                  </a:cubicBezTo>
                  <a:cubicBezTo>
                    <a:pt x="1864629" y="814041"/>
                    <a:pt x="1865452" y="826979"/>
                    <a:pt x="1857282" y="832815"/>
                  </a:cubicBezTo>
                  <a:cubicBezTo>
                    <a:pt x="1840942" y="844487"/>
                    <a:pt x="1800132" y="851865"/>
                    <a:pt x="1800132" y="851865"/>
                  </a:cubicBezTo>
                  <a:cubicBezTo>
                    <a:pt x="1790607" y="848690"/>
                    <a:pt x="1781536" y="841231"/>
                    <a:pt x="1771557" y="842340"/>
                  </a:cubicBezTo>
                  <a:cubicBezTo>
                    <a:pt x="1751599" y="844558"/>
                    <a:pt x="1714407" y="861390"/>
                    <a:pt x="1714407" y="861390"/>
                  </a:cubicBezTo>
                  <a:cubicBezTo>
                    <a:pt x="1672927" y="923611"/>
                    <a:pt x="1721005" y="871403"/>
                    <a:pt x="1666782" y="880440"/>
                  </a:cubicBezTo>
                  <a:cubicBezTo>
                    <a:pt x="1655490" y="882322"/>
                    <a:pt x="1647732" y="893140"/>
                    <a:pt x="1638207" y="899490"/>
                  </a:cubicBezTo>
                  <a:cubicBezTo>
                    <a:pt x="1635032" y="909015"/>
                    <a:pt x="1634954" y="920225"/>
                    <a:pt x="1628682" y="928065"/>
                  </a:cubicBezTo>
                  <a:cubicBezTo>
                    <a:pt x="1610484" y="950813"/>
                    <a:pt x="1594539" y="945136"/>
                    <a:pt x="1571532" y="956640"/>
                  </a:cubicBezTo>
                  <a:cubicBezTo>
                    <a:pt x="1561293" y="961760"/>
                    <a:pt x="1553418" y="971041"/>
                    <a:pt x="1542957" y="975690"/>
                  </a:cubicBezTo>
                  <a:cubicBezTo>
                    <a:pt x="1503407" y="993268"/>
                    <a:pt x="1478926" y="996116"/>
                    <a:pt x="1438182" y="1004265"/>
                  </a:cubicBezTo>
                  <a:cubicBezTo>
                    <a:pt x="1414241" y="1076089"/>
                    <a:pt x="1446536" y="987557"/>
                    <a:pt x="1409607" y="1061415"/>
                  </a:cubicBezTo>
                  <a:cubicBezTo>
                    <a:pt x="1405117" y="1070395"/>
                    <a:pt x="1404958" y="1081213"/>
                    <a:pt x="1400082" y="1089990"/>
                  </a:cubicBezTo>
                  <a:cubicBezTo>
                    <a:pt x="1388963" y="1110004"/>
                    <a:pt x="1361982" y="1147140"/>
                    <a:pt x="1361982" y="1147140"/>
                  </a:cubicBezTo>
                  <a:cubicBezTo>
                    <a:pt x="1383501" y="1211698"/>
                    <a:pt x="1359142" y="1132941"/>
                    <a:pt x="1381032" y="1242390"/>
                  </a:cubicBezTo>
                  <a:cubicBezTo>
                    <a:pt x="1383001" y="1252235"/>
                    <a:pt x="1387799" y="1261311"/>
                    <a:pt x="1390557" y="1270965"/>
                  </a:cubicBezTo>
                  <a:cubicBezTo>
                    <a:pt x="1394153" y="1283552"/>
                    <a:pt x="1396486" y="1296478"/>
                    <a:pt x="1400082" y="1309065"/>
                  </a:cubicBezTo>
                  <a:cubicBezTo>
                    <a:pt x="1402840" y="1318719"/>
                    <a:pt x="1406849" y="1327986"/>
                    <a:pt x="1409607" y="1337640"/>
                  </a:cubicBezTo>
                  <a:cubicBezTo>
                    <a:pt x="1413203" y="1350227"/>
                    <a:pt x="1415536" y="1363153"/>
                    <a:pt x="1419132" y="1375740"/>
                  </a:cubicBezTo>
                  <a:cubicBezTo>
                    <a:pt x="1421890" y="1385394"/>
                    <a:pt x="1425899" y="1394661"/>
                    <a:pt x="1428657" y="1404315"/>
                  </a:cubicBezTo>
                  <a:cubicBezTo>
                    <a:pt x="1437625" y="1435702"/>
                    <a:pt x="1441160" y="1457304"/>
                    <a:pt x="1447707" y="1490040"/>
                  </a:cubicBezTo>
                  <a:cubicBezTo>
                    <a:pt x="1444532" y="1499565"/>
                    <a:pt x="1445282" y="1511515"/>
                    <a:pt x="1438182" y="1518615"/>
                  </a:cubicBezTo>
                  <a:cubicBezTo>
                    <a:pt x="1419132" y="1537665"/>
                    <a:pt x="1400082" y="1524965"/>
                    <a:pt x="1381032" y="1518615"/>
                  </a:cubicBezTo>
                  <a:cubicBezTo>
                    <a:pt x="1374682" y="1528140"/>
                    <a:pt x="1367102" y="1536951"/>
                    <a:pt x="1361982" y="1547190"/>
                  </a:cubicBezTo>
                  <a:cubicBezTo>
                    <a:pt x="1357492" y="1556170"/>
                    <a:pt x="1358729" y="1567925"/>
                    <a:pt x="1352457" y="1575765"/>
                  </a:cubicBezTo>
                  <a:cubicBezTo>
                    <a:pt x="1345306" y="1584704"/>
                    <a:pt x="1332676" y="1587486"/>
                    <a:pt x="1323882" y="1594815"/>
                  </a:cubicBezTo>
                  <a:cubicBezTo>
                    <a:pt x="1250543" y="1655931"/>
                    <a:pt x="1337678" y="1595142"/>
                    <a:pt x="1266732" y="1642440"/>
                  </a:cubicBezTo>
                  <a:cubicBezTo>
                    <a:pt x="1190532" y="1617040"/>
                    <a:pt x="1279432" y="1655140"/>
                    <a:pt x="1228632" y="1604340"/>
                  </a:cubicBezTo>
                  <a:cubicBezTo>
                    <a:pt x="1221532" y="1597240"/>
                    <a:pt x="1209582" y="1597990"/>
                    <a:pt x="1200057" y="1594815"/>
                  </a:cubicBezTo>
                  <a:cubicBezTo>
                    <a:pt x="1190532" y="1597990"/>
                    <a:pt x="1181461" y="1605449"/>
                    <a:pt x="1171482" y="1604340"/>
                  </a:cubicBezTo>
                  <a:cubicBezTo>
                    <a:pt x="1151524" y="1602122"/>
                    <a:pt x="1114332" y="1585290"/>
                    <a:pt x="1114332" y="1585290"/>
                  </a:cubicBezTo>
                  <a:cubicBezTo>
                    <a:pt x="1104807" y="1588465"/>
                    <a:pt x="1094737" y="1590325"/>
                    <a:pt x="1085757" y="1594815"/>
                  </a:cubicBezTo>
                  <a:cubicBezTo>
                    <a:pt x="1075518" y="1599935"/>
                    <a:pt x="1068474" y="1611983"/>
                    <a:pt x="1057182" y="1613865"/>
                  </a:cubicBezTo>
                  <a:cubicBezTo>
                    <a:pt x="1047278" y="1615516"/>
                    <a:pt x="1038132" y="1607515"/>
                    <a:pt x="1028607" y="1604340"/>
                  </a:cubicBezTo>
                  <a:cubicBezTo>
                    <a:pt x="1016400" y="1607392"/>
                    <a:pt x="975597" y="1616558"/>
                    <a:pt x="961932" y="1623390"/>
                  </a:cubicBezTo>
                  <a:cubicBezTo>
                    <a:pt x="888074" y="1660319"/>
                    <a:pt x="976606" y="1628024"/>
                    <a:pt x="904782" y="1651965"/>
                  </a:cubicBezTo>
                  <a:cubicBezTo>
                    <a:pt x="882233" y="1644449"/>
                    <a:pt x="851570" y="1632915"/>
                    <a:pt x="828582" y="1632915"/>
                  </a:cubicBezTo>
                  <a:cubicBezTo>
                    <a:pt x="806131" y="1632915"/>
                    <a:pt x="784132" y="1639265"/>
                    <a:pt x="761907" y="1642440"/>
                  </a:cubicBezTo>
                  <a:cubicBezTo>
                    <a:pt x="746032" y="1639265"/>
                    <a:pt x="730471" y="1632915"/>
                    <a:pt x="714282" y="1632915"/>
                  </a:cubicBezTo>
                  <a:cubicBezTo>
                    <a:pt x="704242" y="1632915"/>
                    <a:pt x="695747" y="1642440"/>
                    <a:pt x="685707" y="1642440"/>
                  </a:cubicBezTo>
                  <a:cubicBezTo>
                    <a:pt x="675667" y="1642440"/>
                    <a:pt x="666786" y="1635673"/>
                    <a:pt x="657132" y="1632915"/>
                  </a:cubicBezTo>
                  <a:cubicBezTo>
                    <a:pt x="644545" y="1629319"/>
                    <a:pt x="631732" y="1626565"/>
                    <a:pt x="619032" y="1623390"/>
                  </a:cubicBezTo>
                  <a:cubicBezTo>
                    <a:pt x="613015" y="1619379"/>
                    <a:pt x="574205" y="1589886"/>
                    <a:pt x="561882" y="1594815"/>
                  </a:cubicBezTo>
                  <a:cubicBezTo>
                    <a:pt x="551253" y="1599067"/>
                    <a:pt x="549182" y="1613865"/>
                    <a:pt x="542832" y="1623390"/>
                  </a:cubicBezTo>
                  <a:cubicBezTo>
                    <a:pt x="546007" y="1632915"/>
                    <a:pt x="556847" y="1642985"/>
                    <a:pt x="552357" y="1651965"/>
                  </a:cubicBezTo>
                  <a:cubicBezTo>
                    <a:pt x="547867" y="1660945"/>
                    <a:pt x="533822" y="1661490"/>
                    <a:pt x="523782" y="1661490"/>
                  </a:cubicBezTo>
                  <a:cubicBezTo>
                    <a:pt x="501331" y="1661490"/>
                    <a:pt x="479434" y="1654315"/>
                    <a:pt x="457107" y="1651965"/>
                  </a:cubicBezTo>
                  <a:cubicBezTo>
                    <a:pt x="419085" y="1647963"/>
                    <a:pt x="380907" y="1645615"/>
                    <a:pt x="342807" y="1642440"/>
                  </a:cubicBezTo>
                  <a:cubicBezTo>
                    <a:pt x="333282" y="1645615"/>
                    <a:pt x="323212" y="1647475"/>
                    <a:pt x="314232" y="1651965"/>
                  </a:cubicBezTo>
                  <a:cubicBezTo>
                    <a:pt x="303993" y="1657085"/>
                    <a:pt x="296179" y="1666506"/>
                    <a:pt x="285657" y="1671015"/>
                  </a:cubicBezTo>
                  <a:cubicBezTo>
                    <a:pt x="273625" y="1676172"/>
                    <a:pt x="260144" y="1676944"/>
                    <a:pt x="247557" y="1680540"/>
                  </a:cubicBezTo>
                  <a:cubicBezTo>
                    <a:pt x="151904" y="1707869"/>
                    <a:pt x="299989" y="1669813"/>
                    <a:pt x="180882" y="1699590"/>
                  </a:cubicBezTo>
                  <a:cubicBezTo>
                    <a:pt x="141275" y="1640180"/>
                    <a:pt x="171357" y="1701593"/>
                    <a:pt x="171357" y="1642440"/>
                  </a:cubicBezTo>
                  <a:cubicBezTo>
                    <a:pt x="171357" y="1613689"/>
                    <a:pt x="165007" y="1585290"/>
                    <a:pt x="161832" y="1556715"/>
                  </a:cubicBezTo>
                  <a:cubicBezTo>
                    <a:pt x="165007" y="1544015"/>
                    <a:pt x="164095" y="1529507"/>
                    <a:pt x="171357" y="1518615"/>
                  </a:cubicBezTo>
                  <a:cubicBezTo>
                    <a:pt x="177707" y="1509090"/>
                    <a:pt x="197156" y="1510671"/>
                    <a:pt x="199932" y="1499565"/>
                  </a:cubicBezTo>
                  <a:cubicBezTo>
                    <a:pt x="204616" y="1480829"/>
                    <a:pt x="193582" y="1461465"/>
                    <a:pt x="190407" y="1442415"/>
                  </a:cubicBezTo>
                  <a:cubicBezTo>
                    <a:pt x="193582" y="1417015"/>
                    <a:pt x="195353" y="1391400"/>
                    <a:pt x="199932" y="1366215"/>
                  </a:cubicBezTo>
                  <a:cubicBezTo>
                    <a:pt x="201728" y="1356337"/>
                    <a:pt x="202357" y="1344740"/>
                    <a:pt x="209457" y="1337640"/>
                  </a:cubicBezTo>
                  <a:cubicBezTo>
                    <a:pt x="216557" y="1330540"/>
                    <a:pt x="228507" y="1331290"/>
                    <a:pt x="238032" y="1328115"/>
                  </a:cubicBezTo>
                  <a:cubicBezTo>
                    <a:pt x="257082" y="1340815"/>
                    <a:pt x="282482" y="1385265"/>
                    <a:pt x="295182" y="1366215"/>
                  </a:cubicBezTo>
                  <a:cubicBezTo>
                    <a:pt x="301532" y="1356690"/>
                    <a:pt x="309112" y="1347879"/>
                    <a:pt x="314232" y="1337640"/>
                  </a:cubicBezTo>
                  <a:cubicBezTo>
                    <a:pt x="327600" y="1310903"/>
                    <a:pt x="315148" y="1300156"/>
                    <a:pt x="352332" y="1290015"/>
                  </a:cubicBezTo>
                  <a:cubicBezTo>
                    <a:pt x="377028" y="1283280"/>
                    <a:pt x="403283" y="1284698"/>
                    <a:pt x="428532" y="1280490"/>
                  </a:cubicBezTo>
                  <a:cubicBezTo>
                    <a:pt x="452452" y="1276503"/>
                    <a:pt x="472559" y="1268989"/>
                    <a:pt x="495207" y="1261440"/>
                  </a:cubicBezTo>
                  <a:cubicBezTo>
                    <a:pt x="501557" y="1251915"/>
                    <a:pt x="509748" y="1243387"/>
                    <a:pt x="514257" y="1232865"/>
                  </a:cubicBezTo>
                  <a:cubicBezTo>
                    <a:pt x="524196" y="1209674"/>
                    <a:pt x="529718" y="1179856"/>
                    <a:pt x="514257" y="1156665"/>
                  </a:cubicBezTo>
                  <a:cubicBezTo>
                    <a:pt x="507907" y="1147140"/>
                    <a:pt x="495207" y="1143965"/>
                    <a:pt x="485682" y="1137615"/>
                  </a:cubicBezTo>
                  <a:cubicBezTo>
                    <a:pt x="417672" y="1160285"/>
                    <a:pt x="439671" y="1173373"/>
                    <a:pt x="409482" y="1128090"/>
                  </a:cubicBezTo>
                  <a:cubicBezTo>
                    <a:pt x="412657" y="1115390"/>
                    <a:pt x="417822" y="1103027"/>
                    <a:pt x="419007" y="1089990"/>
                  </a:cubicBezTo>
                  <a:cubicBezTo>
                    <a:pt x="424189" y="1032987"/>
                    <a:pt x="434227" y="975494"/>
                    <a:pt x="428532" y="918540"/>
                  </a:cubicBezTo>
                  <a:cubicBezTo>
                    <a:pt x="427393" y="907149"/>
                    <a:pt x="410817" y="903110"/>
                    <a:pt x="399957" y="899490"/>
                  </a:cubicBezTo>
                  <a:cubicBezTo>
                    <a:pt x="381635" y="893383"/>
                    <a:pt x="361660" y="894155"/>
                    <a:pt x="342807" y="889965"/>
                  </a:cubicBezTo>
                  <a:cubicBezTo>
                    <a:pt x="290701" y="878386"/>
                    <a:pt x="337033" y="884224"/>
                    <a:pt x="285657" y="861390"/>
                  </a:cubicBezTo>
                  <a:cubicBezTo>
                    <a:pt x="183642" y="816050"/>
                    <a:pt x="264601" y="866403"/>
                    <a:pt x="199932" y="823290"/>
                  </a:cubicBezTo>
                  <a:cubicBezTo>
                    <a:pt x="193582" y="813765"/>
                    <a:pt x="182992" y="805967"/>
                    <a:pt x="180882" y="794715"/>
                  </a:cubicBezTo>
                  <a:cubicBezTo>
                    <a:pt x="154801" y="655617"/>
                    <a:pt x="214458" y="685257"/>
                    <a:pt x="142782" y="661365"/>
                  </a:cubicBezTo>
                  <a:cubicBezTo>
                    <a:pt x="132856" y="631588"/>
                    <a:pt x="123230" y="594355"/>
                    <a:pt x="95157" y="575640"/>
                  </a:cubicBezTo>
                  <a:lnTo>
                    <a:pt x="66582" y="556590"/>
                  </a:lnTo>
                  <a:cubicBezTo>
                    <a:pt x="60232" y="547065"/>
                    <a:pt x="55627" y="536110"/>
                    <a:pt x="47532" y="528015"/>
                  </a:cubicBezTo>
                  <a:cubicBezTo>
                    <a:pt x="19835" y="500318"/>
                    <a:pt x="0" y="515284"/>
                    <a:pt x="47532" y="499440"/>
                  </a:cubicBezTo>
                  <a:lnTo>
                    <a:pt x="161832" y="537540"/>
                  </a:lnTo>
                  <a:cubicBezTo>
                    <a:pt x="171357" y="540715"/>
                    <a:pt x="182053" y="541496"/>
                    <a:pt x="190407" y="547065"/>
                  </a:cubicBezTo>
                  <a:lnTo>
                    <a:pt x="247557" y="585165"/>
                  </a:lnTo>
                  <a:cubicBezTo>
                    <a:pt x="257082" y="591515"/>
                    <a:pt x="265272" y="600595"/>
                    <a:pt x="276132" y="604215"/>
                  </a:cubicBezTo>
                  <a:lnTo>
                    <a:pt x="361857" y="632790"/>
                  </a:lnTo>
                  <a:lnTo>
                    <a:pt x="390432" y="642315"/>
                  </a:lnTo>
                  <a:cubicBezTo>
                    <a:pt x="435715" y="612126"/>
                    <a:pt x="408147" y="626885"/>
                    <a:pt x="476157" y="604215"/>
                  </a:cubicBezTo>
                  <a:lnTo>
                    <a:pt x="504732" y="594690"/>
                  </a:lnTo>
                  <a:cubicBezTo>
                    <a:pt x="518207" y="599182"/>
                    <a:pt x="559447" y="613740"/>
                    <a:pt x="571407" y="613740"/>
                  </a:cubicBezTo>
                  <a:cubicBezTo>
                    <a:pt x="581447" y="613740"/>
                    <a:pt x="590457" y="607390"/>
                    <a:pt x="599982" y="604215"/>
                  </a:cubicBezTo>
                  <a:cubicBezTo>
                    <a:pt x="625382" y="607390"/>
                    <a:pt x="650997" y="609161"/>
                    <a:pt x="676182" y="613740"/>
                  </a:cubicBezTo>
                  <a:cubicBezTo>
                    <a:pt x="686060" y="615536"/>
                    <a:pt x="694717" y="623265"/>
                    <a:pt x="704757" y="623265"/>
                  </a:cubicBezTo>
                  <a:cubicBezTo>
                    <a:pt x="714797" y="623265"/>
                    <a:pt x="723807" y="616915"/>
                    <a:pt x="733332" y="613740"/>
                  </a:cubicBezTo>
                  <a:cubicBezTo>
                    <a:pt x="749207" y="566115"/>
                    <a:pt x="733332" y="588340"/>
                    <a:pt x="800007" y="566115"/>
                  </a:cubicBezTo>
                  <a:lnTo>
                    <a:pt x="828582" y="556590"/>
                  </a:lnTo>
                  <a:cubicBezTo>
                    <a:pt x="841282" y="559765"/>
                    <a:pt x="854095" y="562519"/>
                    <a:pt x="866682" y="566115"/>
                  </a:cubicBezTo>
                  <a:cubicBezTo>
                    <a:pt x="876336" y="568873"/>
                    <a:pt x="885278" y="576749"/>
                    <a:pt x="895257" y="575640"/>
                  </a:cubicBezTo>
                  <a:cubicBezTo>
                    <a:pt x="915215" y="573422"/>
                    <a:pt x="933357" y="562940"/>
                    <a:pt x="952407" y="556590"/>
                  </a:cubicBezTo>
                  <a:cubicBezTo>
                    <a:pt x="961932" y="553415"/>
                    <a:pt x="972628" y="552634"/>
                    <a:pt x="980982" y="547065"/>
                  </a:cubicBezTo>
                  <a:cubicBezTo>
                    <a:pt x="990507" y="540715"/>
                    <a:pt x="999318" y="533135"/>
                    <a:pt x="1009557" y="528015"/>
                  </a:cubicBezTo>
                  <a:cubicBezTo>
                    <a:pt x="1018537" y="523525"/>
                    <a:pt x="1028392" y="520925"/>
                    <a:pt x="1038132" y="518490"/>
                  </a:cubicBezTo>
                  <a:cubicBezTo>
                    <a:pt x="1075273" y="509205"/>
                    <a:pt x="1114798" y="504816"/>
                    <a:pt x="1152432" y="499440"/>
                  </a:cubicBezTo>
                  <a:cubicBezTo>
                    <a:pt x="1161957" y="493090"/>
                    <a:pt x="1170768" y="485510"/>
                    <a:pt x="1181007" y="480390"/>
                  </a:cubicBezTo>
                  <a:cubicBezTo>
                    <a:pt x="1189987" y="475900"/>
                    <a:pt x="1205092" y="479845"/>
                    <a:pt x="1209582" y="470865"/>
                  </a:cubicBezTo>
                  <a:cubicBezTo>
                    <a:pt x="1221084" y="447861"/>
                    <a:pt x="1180309" y="429125"/>
                    <a:pt x="1171482" y="423240"/>
                  </a:cubicBezTo>
                  <a:cubicBezTo>
                    <a:pt x="1168307" y="413715"/>
                    <a:pt x="1161957" y="404705"/>
                    <a:pt x="1161957" y="394665"/>
                  </a:cubicBezTo>
                  <a:cubicBezTo>
                    <a:pt x="1161957" y="374947"/>
                    <a:pt x="1180900" y="351962"/>
                    <a:pt x="1190532" y="337515"/>
                  </a:cubicBezTo>
                  <a:cubicBezTo>
                    <a:pt x="1184182" y="327990"/>
                    <a:pt x="1173101" y="320273"/>
                    <a:pt x="1171482" y="308940"/>
                  </a:cubicBezTo>
                  <a:cubicBezTo>
                    <a:pt x="1168749" y="289812"/>
                    <a:pt x="1186892" y="255430"/>
                    <a:pt x="1200057" y="242265"/>
                  </a:cubicBezTo>
                  <a:cubicBezTo>
                    <a:pt x="1208152" y="234170"/>
                    <a:pt x="1219107" y="229565"/>
                    <a:pt x="1228632" y="223215"/>
                  </a:cubicBezTo>
                  <a:cubicBezTo>
                    <a:pt x="1274204" y="154857"/>
                    <a:pt x="1250543" y="182254"/>
                    <a:pt x="1295307" y="137490"/>
                  </a:cubicBezTo>
                  <a:cubicBezTo>
                    <a:pt x="1314357" y="143840"/>
                    <a:pt x="1332578" y="159380"/>
                    <a:pt x="1352457" y="156540"/>
                  </a:cubicBezTo>
                  <a:cubicBezTo>
                    <a:pt x="1374682" y="153365"/>
                    <a:pt x="1397043" y="151031"/>
                    <a:pt x="1419132" y="147015"/>
                  </a:cubicBezTo>
                  <a:cubicBezTo>
                    <a:pt x="1445444" y="142231"/>
                    <a:pt x="1461324" y="136126"/>
                    <a:pt x="1485807" y="127965"/>
                  </a:cubicBezTo>
                  <a:cubicBezTo>
                    <a:pt x="1482632" y="118440"/>
                    <a:pt x="1474631" y="109294"/>
                    <a:pt x="1476282" y="99390"/>
                  </a:cubicBezTo>
                  <a:cubicBezTo>
                    <a:pt x="1483422" y="56549"/>
                    <a:pt x="1524901" y="70152"/>
                    <a:pt x="1552482" y="51765"/>
                  </a:cubicBezTo>
                  <a:lnTo>
                    <a:pt x="1581057" y="32715"/>
                  </a:lnTo>
                  <a:cubicBezTo>
                    <a:pt x="1587407" y="23190"/>
                    <a:pt x="1589247" y="7760"/>
                    <a:pt x="1600107" y="4140"/>
                  </a:cubicBezTo>
                  <a:cubicBezTo>
                    <a:pt x="1612526" y="0"/>
                    <a:pt x="1625620" y="10069"/>
                    <a:pt x="1638207" y="13665"/>
                  </a:cubicBezTo>
                  <a:cubicBezTo>
                    <a:pt x="1672713" y="23524"/>
                    <a:pt x="1664048" y="21368"/>
                    <a:pt x="1695357" y="42240"/>
                  </a:cubicBezTo>
                  <a:cubicBezTo>
                    <a:pt x="1709985" y="64181"/>
                    <a:pt x="1712310" y="80340"/>
                    <a:pt x="1742982" y="80340"/>
                  </a:cubicBezTo>
                  <a:cubicBezTo>
                    <a:pt x="1756073" y="80340"/>
                    <a:pt x="1733457" y="88278"/>
                    <a:pt x="1742982" y="89865"/>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43" name="Freeform 42"/>
            <p:cNvSpPr/>
            <p:nvPr/>
          </p:nvSpPr>
          <p:spPr bwMode="auto">
            <a:xfrm>
              <a:off x="1698625" y="4498974"/>
              <a:ext cx="974724" cy="1301750"/>
            </a:xfrm>
            <a:custGeom>
              <a:avLst/>
              <a:gdLst>
                <a:gd name="connsiteX0" fmla="*/ 1118119 w 1283779"/>
                <a:gd name="connsiteY0" fmla="*/ 514350 h 1735795"/>
                <a:gd name="connsiteX1" fmla="*/ 1137169 w 1283779"/>
                <a:gd name="connsiteY1" fmla="*/ 542925 h 1735795"/>
                <a:gd name="connsiteX2" fmla="*/ 1175269 w 1283779"/>
                <a:gd name="connsiteY2" fmla="*/ 533400 h 1735795"/>
                <a:gd name="connsiteX3" fmla="*/ 1232419 w 1283779"/>
                <a:gd name="connsiteY3" fmla="*/ 542925 h 1735795"/>
                <a:gd name="connsiteX4" fmla="*/ 1280044 w 1283779"/>
                <a:gd name="connsiteY4" fmla="*/ 590550 h 1735795"/>
                <a:gd name="connsiteX5" fmla="*/ 1251469 w 1283779"/>
                <a:gd name="connsiteY5" fmla="*/ 609600 h 1735795"/>
                <a:gd name="connsiteX6" fmla="*/ 1165744 w 1283779"/>
                <a:gd name="connsiteY6" fmla="*/ 647700 h 1735795"/>
                <a:gd name="connsiteX7" fmla="*/ 1118119 w 1283779"/>
                <a:gd name="connsiteY7" fmla="*/ 733425 h 1735795"/>
                <a:gd name="connsiteX8" fmla="*/ 1127644 w 1283779"/>
                <a:gd name="connsiteY8" fmla="*/ 771525 h 1735795"/>
                <a:gd name="connsiteX9" fmla="*/ 1108594 w 1283779"/>
                <a:gd name="connsiteY9" fmla="*/ 828675 h 1735795"/>
                <a:gd name="connsiteX10" fmla="*/ 1099069 w 1283779"/>
                <a:gd name="connsiteY10" fmla="*/ 876300 h 1735795"/>
                <a:gd name="connsiteX11" fmla="*/ 1070494 w 1283779"/>
                <a:gd name="connsiteY11" fmla="*/ 904875 h 1735795"/>
                <a:gd name="connsiteX12" fmla="*/ 1032394 w 1283779"/>
                <a:gd name="connsiteY12" fmla="*/ 990600 h 1735795"/>
                <a:gd name="connsiteX13" fmla="*/ 1003819 w 1283779"/>
                <a:gd name="connsiteY13" fmla="*/ 1009650 h 1735795"/>
                <a:gd name="connsiteX14" fmla="*/ 984769 w 1283779"/>
                <a:gd name="connsiteY14" fmla="*/ 1038225 h 1735795"/>
                <a:gd name="connsiteX15" fmla="*/ 965719 w 1283779"/>
                <a:gd name="connsiteY15" fmla="*/ 1095375 h 1735795"/>
                <a:gd name="connsiteX16" fmla="*/ 908569 w 1283779"/>
                <a:gd name="connsiteY16" fmla="*/ 1133475 h 1735795"/>
                <a:gd name="connsiteX17" fmla="*/ 879994 w 1283779"/>
                <a:gd name="connsiteY17" fmla="*/ 1152525 h 1735795"/>
                <a:gd name="connsiteX18" fmla="*/ 851419 w 1283779"/>
                <a:gd name="connsiteY18" fmla="*/ 1181100 h 1735795"/>
                <a:gd name="connsiteX19" fmla="*/ 822844 w 1283779"/>
                <a:gd name="connsiteY19" fmla="*/ 1200150 h 1735795"/>
                <a:gd name="connsiteX20" fmla="*/ 765694 w 1283779"/>
                <a:gd name="connsiteY20" fmla="*/ 1219200 h 1735795"/>
                <a:gd name="connsiteX21" fmla="*/ 746644 w 1283779"/>
                <a:gd name="connsiteY21" fmla="*/ 1247775 h 1735795"/>
                <a:gd name="connsiteX22" fmla="*/ 775219 w 1283779"/>
                <a:gd name="connsiteY22" fmla="*/ 1276350 h 1735795"/>
                <a:gd name="connsiteX23" fmla="*/ 784744 w 1283779"/>
                <a:gd name="connsiteY23" fmla="*/ 1304925 h 1735795"/>
                <a:gd name="connsiteX24" fmla="*/ 756169 w 1283779"/>
                <a:gd name="connsiteY24" fmla="*/ 1362075 h 1735795"/>
                <a:gd name="connsiteX25" fmla="*/ 727594 w 1283779"/>
                <a:gd name="connsiteY25" fmla="*/ 1381125 h 1735795"/>
                <a:gd name="connsiteX26" fmla="*/ 651394 w 1283779"/>
                <a:gd name="connsiteY26" fmla="*/ 1447800 h 1735795"/>
                <a:gd name="connsiteX27" fmla="*/ 622819 w 1283779"/>
                <a:gd name="connsiteY27" fmla="*/ 1466850 h 1735795"/>
                <a:gd name="connsiteX28" fmla="*/ 584719 w 1283779"/>
                <a:gd name="connsiteY28" fmla="*/ 1524000 h 1735795"/>
                <a:gd name="connsiteX29" fmla="*/ 575194 w 1283779"/>
                <a:gd name="connsiteY29" fmla="*/ 1552575 h 1735795"/>
                <a:gd name="connsiteX30" fmla="*/ 556144 w 1283779"/>
                <a:gd name="connsiteY30" fmla="*/ 1581150 h 1735795"/>
                <a:gd name="connsiteX31" fmla="*/ 527569 w 1283779"/>
                <a:gd name="connsiteY31" fmla="*/ 1638300 h 1735795"/>
                <a:gd name="connsiteX32" fmla="*/ 498994 w 1283779"/>
                <a:gd name="connsiteY32" fmla="*/ 1647825 h 1735795"/>
                <a:gd name="connsiteX33" fmla="*/ 441844 w 1283779"/>
                <a:gd name="connsiteY33" fmla="*/ 1685925 h 1735795"/>
                <a:gd name="connsiteX34" fmla="*/ 413269 w 1283779"/>
                <a:gd name="connsiteY34" fmla="*/ 1704975 h 1735795"/>
                <a:gd name="connsiteX35" fmla="*/ 346594 w 1283779"/>
                <a:gd name="connsiteY35" fmla="*/ 1724025 h 1735795"/>
                <a:gd name="connsiteX36" fmla="*/ 298969 w 1283779"/>
                <a:gd name="connsiteY36" fmla="*/ 1714500 h 1735795"/>
                <a:gd name="connsiteX37" fmla="*/ 270394 w 1283779"/>
                <a:gd name="connsiteY37" fmla="*/ 1733550 h 1735795"/>
                <a:gd name="connsiteX38" fmla="*/ 241819 w 1283779"/>
                <a:gd name="connsiteY38" fmla="*/ 1676400 h 1735795"/>
                <a:gd name="connsiteX39" fmla="*/ 213244 w 1283779"/>
                <a:gd name="connsiteY39" fmla="*/ 1657350 h 1735795"/>
                <a:gd name="connsiteX40" fmla="*/ 127519 w 1283779"/>
                <a:gd name="connsiteY40" fmla="*/ 1657350 h 1735795"/>
                <a:gd name="connsiteX41" fmla="*/ 79894 w 1283779"/>
                <a:gd name="connsiteY41" fmla="*/ 1581150 h 1735795"/>
                <a:gd name="connsiteX42" fmla="*/ 13219 w 1283779"/>
                <a:gd name="connsiteY42" fmla="*/ 1514475 h 1735795"/>
                <a:gd name="connsiteX43" fmla="*/ 13219 w 1283779"/>
                <a:gd name="connsiteY43" fmla="*/ 1447800 h 1735795"/>
                <a:gd name="connsiteX44" fmla="*/ 32269 w 1283779"/>
                <a:gd name="connsiteY44" fmla="*/ 1390650 h 1735795"/>
                <a:gd name="connsiteX45" fmla="*/ 22744 w 1283779"/>
                <a:gd name="connsiteY45" fmla="*/ 1323975 h 1735795"/>
                <a:gd name="connsiteX46" fmla="*/ 3694 w 1283779"/>
                <a:gd name="connsiteY46" fmla="*/ 1266825 h 1735795"/>
                <a:gd name="connsiteX47" fmla="*/ 41794 w 1283779"/>
                <a:gd name="connsiteY47" fmla="*/ 1209675 h 1735795"/>
                <a:gd name="connsiteX48" fmla="*/ 51319 w 1283779"/>
                <a:gd name="connsiteY48" fmla="*/ 1181100 h 1735795"/>
                <a:gd name="connsiteX49" fmla="*/ 79894 w 1283779"/>
                <a:gd name="connsiteY49" fmla="*/ 1162050 h 1735795"/>
                <a:gd name="connsiteX50" fmla="*/ 117994 w 1283779"/>
                <a:gd name="connsiteY50" fmla="*/ 1104900 h 1735795"/>
                <a:gd name="connsiteX51" fmla="*/ 137044 w 1283779"/>
                <a:gd name="connsiteY51" fmla="*/ 923925 h 1735795"/>
                <a:gd name="connsiteX52" fmla="*/ 156094 w 1283779"/>
                <a:gd name="connsiteY52" fmla="*/ 828675 h 1735795"/>
                <a:gd name="connsiteX53" fmla="*/ 165619 w 1283779"/>
                <a:gd name="connsiteY53" fmla="*/ 800100 h 1735795"/>
                <a:gd name="connsiteX54" fmla="*/ 213244 w 1283779"/>
                <a:gd name="connsiteY54" fmla="*/ 790575 h 1735795"/>
                <a:gd name="connsiteX55" fmla="*/ 241819 w 1283779"/>
                <a:gd name="connsiteY55" fmla="*/ 781050 h 1735795"/>
                <a:gd name="connsiteX56" fmla="*/ 279919 w 1283779"/>
                <a:gd name="connsiteY56" fmla="*/ 723900 h 1735795"/>
                <a:gd name="connsiteX57" fmla="*/ 308494 w 1283779"/>
                <a:gd name="connsiteY57" fmla="*/ 638175 h 1735795"/>
                <a:gd name="connsiteX58" fmla="*/ 318019 w 1283779"/>
                <a:gd name="connsiteY58" fmla="*/ 609600 h 1735795"/>
                <a:gd name="connsiteX59" fmla="*/ 356119 w 1283779"/>
                <a:gd name="connsiteY59" fmla="*/ 552450 h 1735795"/>
                <a:gd name="connsiteX60" fmla="*/ 375169 w 1283779"/>
                <a:gd name="connsiteY60" fmla="*/ 523875 h 1735795"/>
                <a:gd name="connsiteX61" fmla="*/ 384694 w 1283779"/>
                <a:gd name="connsiteY61" fmla="*/ 495300 h 1735795"/>
                <a:gd name="connsiteX62" fmla="*/ 337069 w 1283779"/>
                <a:gd name="connsiteY62" fmla="*/ 447675 h 1735795"/>
                <a:gd name="connsiteX63" fmla="*/ 346594 w 1283779"/>
                <a:gd name="connsiteY63" fmla="*/ 400050 h 1735795"/>
                <a:gd name="connsiteX64" fmla="*/ 356119 w 1283779"/>
                <a:gd name="connsiteY64" fmla="*/ 371475 h 1735795"/>
                <a:gd name="connsiteX65" fmla="*/ 413269 w 1283779"/>
                <a:gd name="connsiteY65" fmla="*/ 352425 h 1735795"/>
                <a:gd name="connsiteX66" fmla="*/ 460894 w 1283779"/>
                <a:gd name="connsiteY66" fmla="*/ 276225 h 1735795"/>
                <a:gd name="connsiteX67" fmla="*/ 479944 w 1283779"/>
                <a:gd name="connsiteY67" fmla="*/ 247650 h 1735795"/>
                <a:gd name="connsiteX68" fmla="*/ 508519 w 1283779"/>
                <a:gd name="connsiteY68" fmla="*/ 190500 h 1735795"/>
                <a:gd name="connsiteX69" fmla="*/ 537094 w 1283779"/>
                <a:gd name="connsiteY69" fmla="*/ 171450 h 1735795"/>
                <a:gd name="connsiteX70" fmla="*/ 546619 w 1283779"/>
                <a:gd name="connsiteY70" fmla="*/ 142875 h 1735795"/>
                <a:gd name="connsiteX71" fmla="*/ 584719 w 1283779"/>
                <a:gd name="connsiteY71" fmla="*/ 133350 h 1735795"/>
                <a:gd name="connsiteX72" fmla="*/ 613294 w 1283779"/>
                <a:gd name="connsiteY72" fmla="*/ 123825 h 1735795"/>
                <a:gd name="connsiteX73" fmla="*/ 632344 w 1283779"/>
                <a:gd name="connsiteY73" fmla="*/ 95250 h 1735795"/>
                <a:gd name="connsiteX74" fmla="*/ 660919 w 1283779"/>
                <a:gd name="connsiteY74" fmla="*/ 76200 h 1735795"/>
                <a:gd name="connsiteX75" fmla="*/ 765694 w 1283779"/>
                <a:gd name="connsiteY75" fmla="*/ 57150 h 1735795"/>
                <a:gd name="connsiteX76" fmla="*/ 794269 w 1283779"/>
                <a:gd name="connsiteY76" fmla="*/ 47625 h 1735795"/>
                <a:gd name="connsiteX77" fmla="*/ 813319 w 1283779"/>
                <a:gd name="connsiteY77" fmla="*/ 19050 h 1735795"/>
                <a:gd name="connsiteX78" fmla="*/ 841894 w 1283779"/>
                <a:gd name="connsiteY78" fmla="*/ 0 h 1735795"/>
                <a:gd name="connsiteX79" fmla="*/ 870469 w 1283779"/>
                <a:gd name="connsiteY79" fmla="*/ 9525 h 1735795"/>
                <a:gd name="connsiteX80" fmla="*/ 899044 w 1283779"/>
                <a:gd name="connsiteY80" fmla="*/ 76200 h 1735795"/>
                <a:gd name="connsiteX81" fmla="*/ 918094 w 1283779"/>
                <a:gd name="connsiteY81" fmla="*/ 133350 h 1735795"/>
                <a:gd name="connsiteX82" fmla="*/ 908569 w 1283779"/>
                <a:gd name="connsiteY82" fmla="*/ 161925 h 1735795"/>
                <a:gd name="connsiteX83" fmla="*/ 889519 w 1283779"/>
                <a:gd name="connsiteY83" fmla="*/ 190500 h 1735795"/>
                <a:gd name="connsiteX84" fmla="*/ 908569 w 1283779"/>
                <a:gd name="connsiteY84" fmla="*/ 219075 h 1735795"/>
                <a:gd name="connsiteX85" fmla="*/ 918094 w 1283779"/>
                <a:gd name="connsiteY85" fmla="*/ 247650 h 1735795"/>
                <a:gd name="connsiteX86" fmla="*/ 908569 w 1283779"/>
                <a:gd name="connsiteY86" fmla="*/ 352425 h 1735795"/>
                <a:gd name="connsiteX87" fmla="*/ 965719 w 1283779"/>
                <a:gd name="connsiteY87" fmla="*/ 371475 h 1735795"/>
                <a:gd name="connsiteX88" fmla="*/ 1013344 w 1283779"/>
                <a:gd name="connsiteY88" fmla="*/ 323850 h 1735795"/>
                <a:gd name="connsiteX89" fmla="*/ 1041919 w 1283779"/>
                <a:gd name="connsiteY89" fmla="*/ 304800 h 1735795"/>
                <a:gd name="connsiteX90" fmla="*/ 1089544 w 1283779"/>
                <a:gd name="connsiteY90" fmla="*/ 342900 h 1735795"/>
                <a:gd name="connsiteX91" fmla="*/ 1118119 w 1283779"/>
                <a:gd name="connsiteY91" fmla="*/ 352425 h 1735795"/>
                <a:gd name="connsiteX92" fmla="*/ 1146694 w 1283779"/>
                <a:gd name="connsiteY92" fmla="*/ 371475 h 1735795"/>
                <a:gd name="connsiteX93" fmla="*/ 1156219 w 1283779"/>
                <a:gd name="connsiteY93" fmla="*/ 400050 h 1735795"/>
                <a:gd name="connsiteX94" fmla="*/ 1118119 w 1283779"/>
                <a:gd name="connsiteY94" fmla="*/ 447675 h 1735795"/>
                <a:gd name="connsiteX95" fmla="*/ 1118119 w 1283779"/>
                <a:gd name="connsiteY95" fmla="*/ 514350 h 173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283779" h="1735795">
                  <a:moveTo>
                    <a:pt x="1118119" y="514350"/>
                  </a:moveTo>
                  <a:cubicBezTo>
                    <a:pt x="1121294" y="530225"/>
                    <a:pt x="1126309" y="539305"/>
                    <a:pt x="1137169" y="542925"/>
                  </a:cubicBezTo>
                  <a:cubicBezTo>
                    <a:pt x="1149588" y="547065"/>
                    <a:pt x="1162178" y="533400"/>
                    <a:pt x="1175269" y="533400"/>
                  </a:cubicBezTo>
                  <a:cubicBezTo>
                    <a:pt x="1194582" y="533400"/>
                    <a:pt x="1213369" y="539750"/>
                    <a:pt x="1232419" y="542925"/>
                  </a:cubicBezTo>
                  <a:cubicBezTo>
                    <a:pt x="1241384" y="548901"/>
                    <a:pt x="1283779" y="571874"/>
                    <a:pt x="1280044" y="590550"/>
                  </a:cubicBezTo>
                  <a:cubicBezTo>
                    <a:pt x="1277799" y="601775"/>
                    <a:pt x="1261930" y="604951"/>
                    <a:pt x="1251469" y="609600"/>
                  </a:cubicBezTo>
                  <a:cubicBezTo>
                    <a:pt x="1149454" y="654940"/>
                    <a:pt x="1230413" y="604587"/>
                    <a:pt x="1165744" y="647700"/>
                  </a:cubicBezTo>
                  <a:cubicBezTo>
                    <a:pt x="1122075" y="713204"/>
                    <a:pt x="1134884" y="683130"/>
                    <a:pt x="1118119" y="733425"/>
                  </a:cubicBezTo>
                  <a:cubicBezTo>
                    <a:pt x="1121294" y="746125"/>
                    <a:pt x="1128947" y="758499"/>
                    <a:pt x="1127644" y="771525"/>
                  </a:cubicBezTo>
                  <a:cubicBezTo>
                    <a:pt x="1125646" y="791506"/>
                    <a:pt x="1112532" y="808984"/>
                    <a:pt x="1108594" y="828675"/>
                  </a:cubicBezTo>
                  <a:cubicBezTo>
                    <a:pt x="1105419" y="844550"/>
                    <a:pt x="1106309" y="861820"/>
                    <a:pt x="1099069" y="876300"/>
                  </a:cubicBezTo>
                  <a:cubicBezTo>
                    <a:pt x="1093045" y="888348"/>
                    <a:pt x="1080019" y="895350"/>
                    <a:pt x="1070494" y="904875"/>
                  </a:cubicBezTo>
                  <a:cubicBezTo>
                    <a:pt x="1061063" y="933169"/>
                    <a:pt x="1055035" y="967959"/>
                    <a:pt x="1032394" y="990600"/>
                  </a:cubicBezTo>
                  <a:cubicBezTo>
                    <a:pt x="1024299" y="998695"/>
                    <a:pt x="1013344" y="1003300"/>
                    <a:pt x="1003819" y="1009650"/>
                  </a:cubicBezTo>
                  <a:cubicBezTo>
                    <a:pt x="997469" y="1019175"/>
                    <a:pt x="989418" y="1027764"/>
                    <a:pt x="984769" y="1038225"/>
                  </a:cubicBezTo>
                  <a:cubicBezTo>
                    <a:pt x="976614" y="1056575"/>
                    <a:pt x="982427" y="1084236"/>
                    <a:pt x="965719" y="1095375"/>
                  </a:cubicBezTo>
                  <a:lnTo>
                    <a:pt x="908569" y="1133475"/>
                  </a:lnTo>
                  <a:cubicBezTo>
                    <a:pt x="899044" y="1139825"/>
                    <a:pt x="888089" y="1144430"/>
                    <a:pt x="879994" y="1152525"/>
                  </a:cubicBezTo>
                  <a:cubicBezTo>
                    <a:pt x="870469" y="1162050"/>
                    <a:pt x="861767" y="1172476"/>
                    <a:pt x="851419" y="1181100"/>
                  </a:cubicBezTo>
                  <a:cubicBezTo>
                    <a:pt x="842625" y="1188429"/>
                    <a:pt x="833305" y="1195501"/>
                    <a:pt x="822844" y="1200150"/>
                  </a:cubicBezTo>
                  <a:cubicBezTo>
                    <a:pt x="804494" y="1208305"/>
                    <a:pt x="765694" y="1219200"/>
                    <a:pt x="765694" y="1219200"/>
                  </a:cubicBezTo>
                  <a:cubicBezTo>
                    <a:pt x="759344" y="1228725"/>
                    <a:pt x="744762" y="1236483"/>
                    <a:pt x="746644" y="1247775"/>
                  </a:cubicBezTo>
                  <a:cubicBezTo>
                    <a:pt x="748859" y="1261062"/>
                    <a:pt x="767747" y="1265142"/>
                    <a:pt x="775219" y="1276350"/>
                  </a:cubicBezTo>
                  <a:cubicBezTo>
                    <a:pt x="780788" y="1284704"/>
                    <a:pt x="781569" y="1295400"/>
                    <a:pt x="784744" y="1304925"/>
                  </a:cubicBezTo>
                  <a:cubicBezTo>
                    <a:pt x="776997" y="1328166"/>
                    <a:pt x="774633" y="1343611"/>
                    <a:pt x="756169" y="1362075"/>
                  </a:cubicBezTo>
                  <a:cubicBezTo>
                    <a:pt x="748074" y="1370170"/>
                    <a:pt x="737119" y="1374775"/>
                    <a:pt x="727594" y="1381125"/>
                  </a:cubicBezTo>
                  <a:cubicBezTo>
                    <a:pt x="695844" y="1428750"/>
                    <a:pt x="718069" y="1403350"/>
                    <a:pt x="651394" y="1447800"/>
                  </a:cubicBezTo>
                  <a:lnTo>
                    <a:pt x="622819" y="1466850"/>
                  </a:lnTo>
                  <a:cubicBezTo>
                    <a:pt x="610119" y="1485900"/>
                    <a:pt x="591959" y="1502280"/>
                    <a:pt x="584719" y="1524000"/>
                  </a:cubicBezTo>
                  <a:cubicBezTo>
                    <a:pt x="581544" y="1533525"/>
                    <a:pt x="579684" y="1543595"/>
                    <a:pt x="575194" y="1552575"/>
                  </a:cubicBezTo>
                  <a:cubicBezTo>
                    <a:pt x="570074" y="1562814"/>
                    <a:pt x="561264" y="1570911"/>
                    <a:pt x="556144" y="1581150"/>
                  </a:cubicBezTo>
                  <a:cubicBezTo>
                    <a:pt x="544640" y="1604157"/>
                    <a:pt x="550317" y="1620102"/>
                    <a:pt x="527569" y="1638300"/>
                  </a:cubicBezTo>
                  <a:cubicBezTo>
                    <a:pt x="519729" y="1644572"/>
                    <a:pt x="507771" y="1642949"/>
                    <a:pt x="498994" y="1647825"/>
                  </a:cubicBezTo>
                  <a:cubicBezTo>
                    <a:pt x="478980" y="1658944"/>
                    <a:pt x="460894" y="1673225"/>
                    <a:pt x="441844" y="1685925"/>
                  </a:cubicBezTo>
                  <a:cubicBezTo>
                    <a:pt x="432319" y="1692275"/>
                    <a:pt x="424129" y="1701355"/>
                    <a:pt x="413269" y="1704975"/>
                  </a:cubicBezTo>
                  <a:cubicBezTo>
                    <a:pt x="372275" y="1718640"/>
                    <a:pt x="394434" y="1712065"/>
                    <a:pt x="346594" y="1724025"/>
                  </a:cubicBezTo>
                  <a:cubicBezTo>
                    <a:pt x="330719" y="1720850"/>
                    <a:pt x="315033" y="1712492"/>
                    <a:pt x="298969" y="1714500"/>
                  </a:cubicBezTo>
                  <a:cubicBezTo>
                    <a:pt x="287610" y="1715920"/>
                    <a:pt x="281619" y="1735795"/>
                    <a:pt x="270394" y="1733550"/>
                  </a:cubicBezTo>
                  <a:cubicBezTo>
                    <a:pt x="251276" y="1729726"/>
                    <a:pt x="250139" y="1686800"/>
                    <a:pt x="241819" y="1676400"/>
                  </a:cubicBezTo>
                  <a:cubicBezTo>
                    <a:pt x="234668" y="1667461"/>
                    <a:pt x="222769" y="1663700"/>
                    <a:pt x="213244" y="1657350"/>
                  </a:cubicBezTo>
                  <a:cubicBezTo>
                    <a:pt x="145234" y="1680020"/>
                    <a:pt x="172802" y="1687539"/>
                    <a:pt x="127519" y="1657350"/>
                  </a:cubicBezTo>
                  <a:cubicBezTo>
                    <a:pt x="104849" y="1589340"/>
                    <a:pt x="125177" y="1611339"/>
                    <a:pt x="79894" y="1581150"/>
                  </a:cubicBezTo>
                  <a:cubicBezTo>
                    <a:pt x="36225" y="1515646"/>
                    <a:pt x="63514" y="1531240"/>
                    <a:pt x="13219" y="1514475"/>
                  </a:cubicBezTo>
                  <a:cubicBezTo>
                    <a:pt x="520" y="1476378"/>
                    <a:pt x="0" y="1491864"/>
                    <a:pt x="13219" y="1447800"/>
                  </a:cubicBezTo>
                  <a:cubicBezTo>
                    <a:pt x="18989" y="1428566"/>
                    <a:pt x="32269" y="1390650"/>
                    <a:pt x="32269" y="1390650"/>
                  </a:cubicBezTo>
                  <a:cubicBezTo>
                    <a:pt x="29094" y="1368425"/>
                    <a:pt x="27792" y="1345851"/>
                    <a:pt x="22744" y="1323975"/>
                  </a:cubicBezTo>
                  <a:cubicBezTo>
                    <a:pt x="18229" y="1304409"/>
                    <a:pt x="3694" y="1266825"/>
                    <a:pt x="3694" y="1266825"/>
                  </a:cubicBezTo>
                  <a:cubicBezTo>
                    <a:pt x="16394" y="1247775"/>
                    <a:pt x="34554" y="1231395"/>
                    <a:pt x="41794" y="1209675"/>
                  </a:cubicBezTo>
                  <a:cubicBezTo>
                    <a:pt x="44969" y="1200150"/>
                    <a:pt x="45047" y="1188940"/>
                    <a:pt x="51319" y="1181100"/>
                  </a:cubicBezTo>
                  <a:cubicBezTo>
                    <a:pt x="58470" y="1172161"/>
                    <a:pt x="70369" y="1168400"/>
                    <a:pt x="79894" y="1162050"/>
                  </a:cubicBezTo>
                  <a:cubicBezTo>
                    <a:pt x="92594" y="1143000"/>
                    <a:pt x="116363" y="1127737"/>
                    <a:pt x="117994" y="1104900"/>
                  </a:cubicBezTo>
                  <a:cubicBezTo>
                    <a:pt x="131630" y="913998"/>
                    <a:pt x="117705" y="1030289"/>
                    <a:pt x="137044" y="923925"/>
                  </a:cubicBezTo>
                  <a:cubicBezTo>
                    <a:pt x="146400" y="872468"/>
                    <a:pt x="143458" y="872899"/>
                    <a:pt x="156094" y="828675"/>
                  </a:cubicBezTo>
                  <a:cubicBezTo>
                    <a:pt x="158852" y="819021"/>
                    <a:pt x="157265" y="805669"/>
                    <a:pt x="165619" y="800100"/>
                  </a:cubicBezTo>
                  <a:cubicBezTo>
                    <a:pt x="179089" y="791120"/>
                    <a:pt x="197538" y="794502"/>
                    <a:pt x="213244" y="790575"/>
                  </a:cubicBezTo>
                  <a:cubicBezTo>
                    <a:pt x="222984" y="788140"/>
                    <a:pt x="232294" y="784225"/>
                    <a:pt x="241819" y="781050"/>
                  </a:cubicBezTo>
                  <a:cubicBezTo>
                    <a:pt x="254519" y="762000"/>
                    <a:pt x="272679" y="745620"/>
                    <a:pt x="279919" y="723900"/>
                  </a:cubicBezTo>
                  <a:lnTo>
                    <a:pt x="308494" y="638175"/>
                  </a:lnTo>
                  <a:cubicBezTo>
                    <a:pt x="311669" y="628650"/>
                    <a:pt x="312450" y="617954"/>
                    <a:pt x="318019" y="609600"/>
                  </a:cubicBezTo>
                  <a:lnTo>
                    <a:pt x="356119" y="552450"/>
                  </a:lnTo>
                  <a:cubicBezTo>
                    <a:pt x="362469" y="542925"/>
                    <a:pt x="371549" y="534735"/>
                    <a:pt x="375169" y="523875"/>
                  </a:cubicBezTo>
                  <a:lnTo>
                    <a:pt x="384694" y="495300"/>
                  </a:lnTo>
                  <a:cubicBezTo>
                    <a:pt x="369108" y="484909"/>
                    <a:pt x="339955" y="470766"/>
                    <a:pt x="337069" y="447675"/>
                  </a:cubicBezTo>
                  <a:cubicBezTo>
                    <a:pt x="335061" y="431611"/>
                    <a:pt x="342667" y="415756"/>
                    <a:pt x="346594" y="400050"/>
                  </a:cubicBezTo>
                  <a:cubicBezTo>
                    <a:pt x="349029" y="390310"/>
                    <a:pt x="347949" y="377311"/>
                    <a:pt x="356119" y="371475"/>
                  </a:cubicBezTo>
                  <a:cubicBezTo>
                    <a:pt x="372459" y="359803"/>
                    <a:pt x="413269" y="352425"/>
                    <a:pt x="413269" y="352425"/>
                  </a:cubicBezTo>
                  <a:cubicBezTo>
                    <a:pt x="435939" y="284415"/>
                    <a:pt x="415611" y="306414"/>
                    <a:pt x="460894" y="276225"/>
                  </a:cubicBezTo>
                  <a:cubicBezTo>
                    <a:pt x="467244" y="266700"/>
                    <a:pt x="474824" y="257889"/>
                    <a:pt x="479944" y="247650"/>
                  </a:cubicBezTo>
                  <a:cubicBezTo>
                    <a:pt x="495438" y="216662"/>
                    <a:pt x="481222" y="217797"/>
                    <a:pt x="508519" y="190500"/>
                  </a:cubicBezTo>
                  <a:cubicBezTo>
                    <a:pt x="516614" y="182405"/>
                    <a:pt x="527569" y="177800"/>
                    <a:pt x="537094" y="171450"/>
                  </a:cubicBezTo>
                  <a:cubicBezTo>
                    <a:pt x="540269" y="161925"/>
                    <a:pt x="538779" y="149147"/>
                    <a:pt x="546619" y="142875"/>
                  </a:cubicBezTo>
                  <a:cubicBezTo>
                    <a:pt x="556841" y="134697"/>
                    <a:pt x="572132" y="136946"/>
                    <a:pt x="584719" y="133350"/>
                  </a:cubicBezTo>
                  <a:cubicBezTo>
                    <a:pt x="594373" y="130592"/>
                    <a:pt x="603769" y="127000"/>
                    <a:pt x="613294" y="123825"/>
                  </a:cubicBezTo>
                  <a:cubicBezTo>
                    <a:pt x="619644" y="114300"/>
                    <a:pt x="624249" y="103345"/>
                    <a:pt x="632344" y="95250"/>
                  </a:cubicBezTo>
                  <a:cubicBezTo>
                    <a:pt x="640439" y="87155"/>
                    <a:pt x="650680" y="81320"/>
                    <a:pt x="660919" y="76200"/>
                  </a:cubicBezTo>
                  <a:cubicBezTo>
                    <a:pt x="690285" y="61517"/>
                    <a:pt x="739427" y="60433"/>
                    <a:pt x="765694" y="57150"/>
                  </a:cubicBezTo>
                  <a:cubicBezTo>
                    <a:pt x="775219" y="53975"/>
                    <a:pt x="786429" y="53897"/>
                    <a:pt x="794269" y="47625"/>
                  </a:cubicBezTo>
                  <a:cubicBezTo>
                    <a:pt x="803208" y="40474"/>
                    <a:pt x="805224" y="27145"/>
                    <a:pt x="813319" y="19050"/>
                  </a:cubicBezTo>
                  <a:cubicBezTo>
                    <a:pt x="821414" y="10955"/>
                    <a:pt x="832369" y="6350"/>
                    <a:pt x="841894" y="0"/>
                  </a:cubicBezTo>
                  <a:cubicBezTo>
                    <a:pt x="851419" y="3175"/>
                    <a:pt x="862629" y="3253"/>
                    <a:pt x="870469" y="9525"/>
                  </a:cubicBezTo>
                  <a:cubicBezTo>
                    <a:pt x="892341" y="27023"/>
                    <a:pt x="891819" y="52117"/>
                    <a:pt x="899044" y="76200"/>
                  </a:cubicBezTo>
                  <a:cubicBezTo>
                    <a:pt x="904814" y="95434"/>
                    <a:pt x="918094" y="133350"/>
                    <a:pt x="918094" y="133350"/>
                  </a:cubicBezTo>
                  <a:cubicBezTo>
                    <a:pt x="914919" y="142875"/>
                    <a:pt x="913059" y="152945"/>
                    <a:pt x="908569" y="161925"/>
                  </a:cubicBezTo>
                  <a:cubicBezTo>
                    <a:pt x="903449" y="172164"/>
                    <a:pt x="889519" y="179052"/>
                    <a:pt x="889519" y="190500"/>
                  </a:cubicBezTo>
                  <a:cubicBezTo>
                    <a:pt x="889519" y="201948"/>
                    <a:pt x="903449" y="208836"/>
                    <a:pt x="908569" y="219075"/>
                  </a:cubicBezTo>
                  <a:cubicBezTo>
                    <a:pt x="913059" y="228055"/>
                    <a:pt x="914919" y="238125"/>
                    <a:pt x="918094" y="247650"/>
                  </a:cubicBezTo>
                  <a:cubicBezTo>
                    <a:pt x="910623" y="270062"/>
                    <a:pt x="881643" y="325499"/>
                    <a:pt x="908569" y="352425"/>
                  </a:cubicBezTo>
                  <a:cubicBezTo>
                    <a:pt x="922768" y="366624"/>
                    <a:pt x="965719" y="371475"/>
                    <a:pt x="965719" y="371475"/>
                  </a:cubicBezTo>
                  <a:cubicBezTo>
                    <a:pt x="1041919" y="320675"/>
                    <a:pt x="949844" y="387350"/>
                    <a:pt x="1013344" y="323850"/>
                  </a:cubicBezTo>
                  <a:cubicBezTo>
                    <a:pt x="1021439" y="315755"/>
                    <a:pt x="1032394" y="311150"/>
                    <a:pt x="1041919" y="304800"/>
                  </a:cubicBezTo>
                  <a:cubicBezTo>
                    <a:pt x="1113743" y="328741"/>
                    <a:pt x="1027996" y="293661"/>
                    <a:pt x="1089544" y="342900"/>
                  </a:cubicBezTo>
                  <a:cubicBezTo>
                    <a:pt x="1097384" y="349172"/>
                    <a:pt x="1109139" y="347935"/>
                    <a:pt x="1118119" y="352425"/>
                  </a:cubicBezTo>
                  <a:cubicBezTo>
                    <a:pt x="1128358" y="357545"/>
                    <a:pt x="1137169" y="365125"/>
                    <a:pt x="1146694" y="371475"/>
                  </a:cubicBezTo>
                  <a:cubicBezTo>
                    <a:pt x="1149869" y="381000"/>
                    <a:pt x="1156219" y="390010"/>
                    <a:pt x="1156219" y="400050"/>
                  </a:cubicBezTo>
                  <a:cubicBezTo>
                    <a:pt x="1156219" y="430722"/>
                    <a:pt x="1140060" y="433047"/>
                    <a:pt x="1118119" y="447675"/>
                  </a:cubicBezTo>
                  <a:cubicBezTo>
                    <a:pt x="1107202" y="502262"/>
                    <a:pt x="1114944" y="498475"/>
                    <a:pt x="1118119" y="514350"/>
                  </a:cubicBezTo>
                  <a:close/>
                </a:path>
              </a:pathLst>
            </a:custGeom>
            <a:grpFill/>
            <a:ln w="12700" cap="flat" cmpd="sng" algn="ctr">
              <a:solidFill>
                <a:schemeClr val="bg1"/>
              </a:solidFill>
              <a:prstDash val="solid"/>
              <a:round/>
              <a:headEnd type="none" w="sm" len="sm"/>
              <a:tailEnd type="none" w="sm" len="sm"/>
            </a:ln>
            <a:effectLst/>
          </p:spPr>
          <p:txBody>
            <a:bodyPr/>
            <a:lstStyle/>
            <a:p>
              <a:pPr>
                <a:defRPr/>
              </a:pPr>
              <a:endParaRPr lang="en-GB" dirty="0">
                <a:solidFill>
                  <a:srgbClr val="626469"/>
                </a:solidFill>
              </a:endParaRPr>
            </a:p>
          </p:txBody>
        </p:sp>
        <p:sp>
          <p:nvSpPr>
            <p:cNvPr id="44" name="Freeform 43"/>
            <p:cNvSpPr/>
            <p:nvPr/>
          </p:nvSpPr>
          <p:spPr bwMode="auto">
            <a:xfrm>
              <a:off x="2349499" y="4362450"/>
              <a:ext cx="336550" cy="422274"/>
            </a:xfrm>
            <a:custGeom>
              <a:avLst/>
              <a:gdLst>
                <a:gd name="connsiteX0" fmla="*/ 390525 w 450753"/>
                <a:gd name="connsiteY0" fmla="*/ 104775 h 561975"/>
                <a:gd name="connsiteX1" fmla="*/ 409575 w 450753"/>
                <a:gd name="connsiteY1" fmla="*/ 133350 h 561975"/>
                <a:gd name="connsiteX2" fmla="*/ 381000 w 450753"/>
                <a:gd name="connsiteY2" fmla="*/ 142875 h 561975"/>
                <a:gd name="connsiteX3" fmla="*/ 276225 w 450753"/>
                <a:gd name="connsiteY3" fmla="*/ 133350 h 561975"/>
                <a:gd name="connsiteX4" fmla="*/ 238125 w 450753"/>
                <a:gd name="connsiteY4" fmla="*/ 123825 h 561975"/>
                <a:gd name="connsiteX5" fmla="*/ 209550 w 450753"/>
                <a:gd name="connsiteY5" fmla="*/ 114300 h 561975"/>
                <a:gd name="connsiteX6" fmla="*/ 180975 w 450753"/>
                <a:gd name="connsiteY6" fmla="*/ 123825 h 561975"/>
                <a:gd name="connsiteX7" fmla="*/ 171450 w 450753"/>
                <a:gd name="connsiteY7" fmla="*/ 152400 h 561975"/>
                <a:gd name="connsiteX8" fmla="*/ 142875 w 450753"/>
                <a:gd name="connsiteY8" fmla="*/ 161925 h 561975"/>
                <a:gd name="connsiteX9" fmla="*/ 114300 w 450753"/>
                <a:gd name="connsiteY9" fmla="*/ 180975 h 561975"/>
                <a:gd name="connsiteX10" fmla="*/ 104775 w 450753"/>
                <a:gd name="connsiteY10" fmla="*/ 209550 h 561975"/>
                <a:gd name="connsiteX11" fmla="*/ 152400 w 450753"/>
                <a:gd name="connsiteY11" fmla="*/ 257175 h 561975"/>
                <a:gd name="connsiteX12" fmla="*/ 161925 w 450753"/>
                <a:gd name="connsiteY12" fmla="*/ 371475 h 561975"/>
                <a:gd name="connsiteX13" fmla="*/ 142875 w 450753"/>
                <a:gd name="connsiteY13" fmla="*/ 400050 h 561975"/>
                <a:gd name="connsiteX14" fmla="*/ 171450 w 450753"/>
                <a:gd name="connsiteY14" fmla="*/ 457200 h 561975"/>
                <a:gd name="connsiteX15" fmla="*/ 180975 w 450753"/>
                <a:gd name="connsiteY15" fmla="*/ 485775 h 561975"/>
                <a:gd name="connsiteX16" fmla="*/ 209550 w 450753"/>
                <a:gd name="connsiteY16" fmla="*/ 495300 h 561975"/>
                <a:gd name="connsiteX17" fmla="*/ 161925 w 450753"/>
                <a:gd name="connsiteY17" fmla="*/ 533400 h 561975"/>
                <a:gd name="connsiteX18" fmla="*/ 142875 w 450753"/>
                <a:gd name="connsiteY18" fmla="*/ 561975 h 561975"/>
                <a:gd name="connsiteX19" fmla="*/ 85725 w 450753"/>
                <a:gd name="connsiteY19" fmla="*/ 542925 h 561975"/>
                <a:gd name="connsiteX20" fmla="*/ 57150 w 450753"/>
                <a:gd name="connsiteY20" fmla="*/ 533400 h 561975"/>
                <a:gd name="connsiteX21" fmla="*/ 38100 w 450753"/>
                <a:gd name="connsiteY21" fmla="*/ 504825 h 561975"/>
                <a:gd name="connsiteX22" fmla="*/ 47625 w 450753"/>
                <a:gd name="connsiteY22" fmla="*/ 466725 h 561975"/>
                <a:gd name="connsiteX23" fmla="*/ 38100 w 450753"/>
                <a:gd name="connsiteY23" fmla="*/ 419100 h 561975"/>
                <a:gd name="connsiteX24" fmla="*/ 19050 w 450753"/>
                <a:gd name="connsiteY24" fmla="*/ 361950 h 561975"/>
                <a:gd name="connsiteX25" fmla="*/ 28575 w 450753"/>
                <a:gd name="connsiteY25" fmla="*/ 333375 h 561975"/>
                <a:gd name="connsiteX26" fmla="*/ 47625 w 450753"/>
                <a:gd name="connsiteY26" fmla="*/ 304800 h 561975"/>
                <a:gd name="connsiteX27" fmla="*/ 28575 w 450753"/>
                <a:gd name="connsiteY27" fmla="*/ 247650 h 561975"/>
                <a:gd name="connsiteX28" fmla="*/ 9525 w 450753"/>
                <a:gd name="connsiteY28" fmla="*/ 190500 h 561975"/>
                <a:gd name="connsiteX29" fmla="*/ 0 w 450753"/>
                <a:gd name="connsiteY29" fmla="*/ 161925 h 561975"/>
                <a:gd name="connsiteX30" fmla="*/ 57150 w 450753"/>
                <a:gd name="connsiteY30" fmla="*/ 123825 h 561975"/>
                <a:gd name="connsiteX31" fmla="*/ 66675 w 450753"/>
                <a:gd name="connsiteY31" fmla="*/ 85725 h 561975"/>
                <a:gd name="connsiteX32" fmla="*/ 123825 w 450753"/>
                <a:gd name="connsiteY32" fmla="*/ 47625 h 561975"/>
                <a:gd name="connsiteX33" fmla="*/ 133350 w 450753"/>
                <a:gd name="connsiteY33" fmla="*/ 19050 h 561975"/>
                <a:gd name="connsiteX34" fmla="*/ 190500 w 450753"/>
                <a:gd name="connsiteY34" fmla="*/ 0 h 561975"/>
                <a:gd name="connsiteX35" fmla="*/ 219075 w 450753"/>
                <a:gd name="connsiteY35" fmla="*/ 19050 h 561975"/>
                <a:gd name="connsiteX36" fmla="*/ 257175 w 450753"/>
                <a:gd name="connsiteY36" fmla="*/ 76200 h 561975"/>
                <a:gd name="connsiteX37" fmla="*/ 304800 w 450753"/>
                <a:gd name="connsiteY37" fmla="*/ 85725 h 561975"/>
                <a:gd name="connsiteX38" fmla="*/ 371475 w 450753"/>
                <a:gd name="connsiteY38" fmla="*/ 76200 h 561975"/>
                <a:gd name="connsiteX39" fmla="*/ 428625 w 450753"/>
                <a:gd name="connsiteY39" fmla="*/ 95250 h 561975"/>
                <a:gd name="connsiteX40" fmla="*/ 419100 w 450753"/>
                <a:gd name="connsiteY40" fmla="*/ 152400 h 561975"/>
                <a:gd name="connsiteX41" fmla="*/ 390525 w 450753"/>
                <a:gd name="connsiteY41" fmla="*/ 104775 h 56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50753" h="561975">
                  <a:moveTo>
                    <a:pt x="390525" y="104775"/>
                  </a:moveTo>
                  <a:cubicBezTo>
                    <a:pt x="396875" y="114300"/>
                    <a:pt x="412351" y="122244"/>
                    <a:pt x="409575" y="133350"/>
                  </a:cubicBezTo>
                  <a:cubicBezTo>
                    <a:pt x="407140" y="143090"/>
                    <a:pt x="391040" y="142875"/>
                    <a:pt x="381000" y="142875"/>
                  </a:cubicBezTo>
                  <a:cubicBezTo>
                    <a:pt x="345931" y="142875"/>
                    <a:pt x="311150" y="136525"/>
                    <a:pt x="276225" y="133350"/>
                  </a:cubicBezTo>
                  <a:cubicBezTo>
                    <a:pt x="263525" y="130175"/>
                    <a:pt x="250712" y="127421"/>
                    <a:pt x="238125" y="123825"/>
                  </a:cubicBezTo>
                  <a:cubicBezTo>
                    <a:pt x="228471" y="121067"/>
                    <a:pt x="219590" y="114300"/>
                    <a:pt x="209550" y="114300"/>
                  </a:cubicBezTo>
                  <a:cubicBezTo>
                    <a:pt x="199510" y="114300"/>
                    <a:pt x="190500" y="120650"/>
                    <a:pt x="180975" y="123825"/>
                  </a:cubicBezTo>
                  <a:cubicBezTo>
                    <a:pt x="177800" y="133350"/>
                    <a:pt x="178550" y="145300"/>
                    <a:pt x="171450" y="152400"/>
                  </a:cubicBezTo>
                  <a:cubicBezTo>
                    <a:pt x="164350" y="159500"/>
                    <a:pt x="151855" y="157435"/>
                    <a:pt x="142875" y="161925"/>
                  </a:cubicBezTo>
                  <a:cubicBezTo>
                    <a:pt x="132636" y="167045"/>
                    <a:pt x="123825" y="174625"/>
                    <a:pt x="114300" y="180975"/>
                  </a:cubicBezTo>
                  <a:cubicBezTo>
                    <a:pt x="111125" y="190500"/>
                    <a:pt x="103124" y="199646"/>
                    <a:pt x="104775" y="209550"/>
                  </a:cubicBezTo>
                  <a:cubicBezTo>
                    <a:pt x="108744" y="233363"/>
                    <a:pt x="135731" y="246063"/>
                    <a:pt x="152400" y="257175"/>
                  </a:cubicBezTo>
                  <a:cubicBezTo>
                    <a:pt x="170889" y="312643"/>
                    <a:pt x="181164" y="313757"/>
                    <a:pt x="161925" y="371475"/>
                  </a:cubicBezTo>
                  <a:cubicBezTo>
                    <a:pt x="158305" y="382335"/>
                    <a:pt x="149225" y="390525"/>
                    <a:pt x="142875" y="400050"/>
                  </a:cubicBezTo>
                  <a:cubicBezTo>
                    <a:pt x="166816" y="471874"/>
                    <a:pt x="134521" y="383342"/>
                    <a:pt x="171450" y="457200"/>
                  </a:cubicBezTo>
                  <a:cubicBezTo>
                    <a:pt x="175940" y="466180"/>
                    <a:pt x="173875" y="478675"/>
                    <a:pt x="180975" y="485775"/>
                  </a:cubicBezTo>
                  <a:cubicBezTo>
                    <a:pt x="188075" y="492875"/>
                    <a:pt x="200025" y="492125"/>
                    <a:pt x="209550" y="495300"/>
                  </a:cubicBezTo>
                  <a:cubicBezTo>
                    <a:pt x="189333" y="555950"/>
                    <a:pt x="218308" y="495811"/>
                    <a:pt x="161925" y="533400"/>
                  </a:cubicBezTo>
                  <a:cubicBezTo>
                    <a:pt x="152400" y="539750"/>
                    <a:pt x="149225" y="552450"/>
                    <a:pt x="142875" y="561975"/>
                  </a:cubicBezTo>
                  <a:lnTo>
                    <a:pt x="85725" y="542925"/>
                  </a:lnTo>
                  <a:lnTo>
                    <a:pt x="57150" y="533400"/>
                  </a:lnTo>
                  <a:cubicBezTo>
                    <a:pt x="50800" y="523875"/>
                    <a:pt x="39719" y="516158"/>
                    <a:pt x="38100" y="504825"/>
                  </a:cubicBezTo>
                  <a:cubicBezTo>
                    <a:pt x="36249" y="491866"/>
                    <a:pt x="47625" y="479816"/>
                    <a:pt x="47625" y="466725"/>
                  </a:cubicBezTo>
                  <a:cubicBezTo>
                    <a:pt x="47625" y="450536"/>
                    <a:pt x="42360" y="434719"/>
                    <a:pt x="38100" y="419100"/>
                  </a:cubicBezTo>
                  <a:cubicBezTo>
                    <a:pt x="32816" y="399727"/>
                    <a:pt x="19050" y="361950"/>
                    <a:pt x="19050" y="361950"/>
                  </a:cubicBezTo>
                  <a:cubicBezTo>
                    <a:pt x="22225" y="352425"/>
                    <a:pt x="24085" y="342355"/>
                    <a:pt x="28575" y="333375"/>
                  </a:cubicBezTo>
                  <a:cubicBezTo>
                    <a:pt x="33695" y="323136"/>
                    <a:pt x="47625" y="316248"/>
                    <a:pt x="47625" y="304800"/>
                  </a:cubicBezTo>
                  <a:cubicBezTo>
                    <a:pt x="47625" y="284720"/>
                    <a:pt x="34925" y="266700"/>
                    <a:pt x="28575" y="247650"/>
                  </a:cubicBezTo>
                  <a:lnTo>
                    <a:pt x="9525" y="190500"/>
                  </a:lnTo>
                  <a:lnTo>
                    <a:pt x="0" y="161925"/>
                  </a:lnTo>
                  <a:cubicBezTo>
                    <a:pt x="19050" y="149225"/>
                    <a:pt x="51597" y="146037"/>
                    <a:pt x="57150" y="123825"/>
                  </a:cubicBezTo>
                  <a:cubicBezTo>
                    <a:pt x="60325" y="111125"/>
                    <a:pt x="58055" y="95577"/>
                    <a:pt x="66675" y="85725"/>
                  </a:cubicBezTo>
                  <a:cubicBezTo>
                    <a:pt x="81752" y="68495"/>
                    <a:pt x="123825" y="47625"/>
                    <a:pt x="123825" y="47625"/>
                  </a:cubicBezTo>
                  <a:cubicBezTo>
                    <a:pt x="127000" y="38100"/>
                    <a:pt x="125180" y="24886"/>
                    <a:pt x="133350" y="19050"/>
                  </a:cubicBezTo>
                  <a:cubicBezTo>
                    <a:pt x="149690" y="7378"/>
                    <a:pt x="190500" y="0"/>
                    <a:pt x="190500" y="0"/>
                  </a:cubicBezTo>
                  <a:cubicBezTo>
                    <a:pt x="200025" y="6350"/>
                    <a:pt x="211537" y="10435"/>
                    <a:pt x="219075" y="19050"/>
                  </a:cubicBezTo>
                  <a:cubicBezTo>
                    <a:pt x="234152" y="36280"/>
                    <a:pt x="234724" y="71710"/>
                    <a:pt x="257175" y="76200"/>
                  </a:cubicBezTo>
                  <a:lnTo>
                    <a:pt x="304800" y="85725"/>
                  </a:lnTo>
                  <a:cubicBezTo>
                    <a:pt x="327025" y="82550"/>
                    <a:pt x="349090" y="74478"/>
                    <a:pt x="371475" y="76200"/>
                  </a:cubicBezTo>
                  <a:cubicBezTo>
                    <a:pt x="391496" y="77740"/>
                    <a:pt x="428625" y="95250"/>
                    <a:pt x="428625" y="95250"/>
                  </a:cubicBezTo>
                  <a:cubicBezTo>
                    <a:pt x="435601" y="116177"/>
                    <a:pt x="450753" y="136573"/>
                    <a:pt x="419100" y="152400"/>
                  </a:cubicBezTo>
                  <a:lnTo>
                    <a:pt x="390525" y="104775"/>
                  </a:lnTo>
                  <a:close/>
                </a:path>
              </a:pathLst>
            </a:custGeom>
            <a:grpFill/>
            <a:ln w="12700" cap="flat" cmpd="sng" algn="ctr">
              <a:solidFill>
                <a:schemeClr val="bg1"/>
              </a:solidFill>
              <a:prstDash val="solid"/>
              <a:round/>
              <a:headEnd type="none" w="sm" len="sm"/>
              <a:tailEnd type="none" w="sm" len="sm"/>
            </a:ln>
            <a:effectLst/>
          </p:spPr>
          <p:txBody>
            <a:bodyPr/>
            <a:lstStyle/>
            <a:p>
              <a:pPr>
                <a:defRPr/>
              </a:pPr>
              <a:endParaRPr lang="en-GB" dirty="0">
                <a:solidFill>
                  <a:srgbClr val="626469"/>
                </a:solidFill>
              </a:endParaRPr>
            </a:p>
          </p:txBody>
        </p:sp>
        <p:sp>
          <p:nvSpPr>
            <p:cNvPr id="45" name="Freeform 178"/>
            <p:cNvSpPr>
              <a:spLocks noChangeArrowheads="1"/>
            </p:cNvSpPr>
            <p:nvPr/>
          </p:nvSpPr>
          <p:spPr bwMode="auto">
            <a:xfrm>
              <a:off x="2183751" y="3984524"/>
              <a:ext cx="937446" cy="515574"/>
            </a:xfrm>
            <a:custGeom>
              <a:avLst/>
              <a:gdLst>
                <a:gd name="T0" fmla="*/ 0 w 1249783"/>
                <a:gd name="T1" fmla="*/ 0 h 687451"/>
                <a:gd name="T2" fmla="*/ 0 w 1249783"/>
                <a:gd name="T3" fmla="*/ 0 h 687451"/>
                <a:gd name="T4" fmla="*/ 0 w 1249783"/>
                <a:gd name="T5" fmla="*/ 0 h 687451"/>
                <a:gd name="T6" fmla="*/ 0 w 1249783"/>
                <a:gd name="T7" fmla="*/ 0 h 687451"/>
                <a:gd name="T8" fmla="*/ 0 w 1249783"/>
                <a:gd name="T9" fmla="*/ 0 h 687451"/>
                <a:gd name="T10" fmla="*/ 0 w 1249783"/>
                <a:gd name="T11" fmla="*/ 0 h 687451"/>
                <a:gd name="T12" fmla="*/ 0 w 1249783"/>
                <a:gd name="T13" fmla="*/ 0 h 687451"/>
                <a:gd name="T14" fmla="*/ 0 w 1249783"/>
                <a:gd name="T15" fmla="*/ 0 h 687451"/>
                <a:gd name="T16" fmla="*/ 0 w 1249783"/>
                <a:gd name="T17" fmla="*/ 0 h 687451"/>
                <a:gd name="T18" fmla="*/ 0 w 1249783"/>
                <a:gd name="T19" fmla="*/ 0 h 687451"/>
                <a:gd name="T20" fmla="*/ 0 w 1249783"/>
                <a:gd name="T21" fmla="*/ 0 h 687451"/>
                <a:gd name="T22" fmla="*/ 0 w 1249783"/>
                <a:gd name="T23" fmla="*/ 0 h 687451"/>
                <a:gd name="T24" fmla="*/ 0 w 1249783"/>
                <a:gd name="T25" fmla="*/ 0 h 687451"/>
                <a:gd name="T26" fmla="*/ 0 w 1249783"/>
                <a:gd name="T27" fmla="*/ 0 h 687451"/>
                <a:gd name="T28" fmla="*/ 0 w 1249783"/>
                <a:gd name="T29" fmla="*/ 0 h 687451"/>
                <a:gd name="T30" fmla="*/ 0 w 1249783"/>
                <a:gd name="T31" fmla="*/ 0 h 687451"/>
                <a:gd name="T32" fmla="*/ 0 w 1249783"/>
                <a:gd name="T33" fmla="*/ 0 h 687451"/>
                <a:gd name="T34" fmla="*/ 0 w 1249783"/>
                <a:gd name="T35" fmla="*/ 0 h 687451"/>
                <a:gd name="T36" fmla="*/ 0 w 1249783"/>
                <a:gd name="T37" fmla="*/ 0 h 687451"/>
                <a:gd name="T38" fmla="*/ 0 w 1249783"/>
                <a:gd name="T39" fmla="*/ 0 h 687451"/>
                <a:gd name="T40" fmla="*/ 0 w 1249783"/>
                <a:gd name="T41" fmla="*/ 0 h 687451"/>
                <a:gd name="T42" fmla="*/ 0 w 1249783"/>
                <a:gd name="T43" fmla="*/ 0 h 687451"/>
                <a:gd name="T44" fmla="*/ 0 w 1249783"/>
                <a:gd name="T45" fmla="*/ 0 h 687451"/>
                <a:gd name="T46" fmla="*/ 0 w 1249783"/>
                <a:gd name="T47" fmla="*/ 0 h 687451"/>
                <a:gd name="T48" fmla="*/ 0 w 1249783"/>
                <a:gd name="T49" fmla="*/ 0 h 687451"/>
                <a:gd name="T50" fmla="*/ 0 w 1249783"/>
                <a:gd name="T51" fmla="*/ 0 h 687451"/>
                <a:gd name="T52" fmla="*/ 0 w 1249783"/>
                <a:gd name="T53" fmla="*/ 0 h 687451"/>
                <a:gd name="T54" fmla="*/ 0 w 1249783"/>
                <a:gd name="T55" fmla="*/ 0 h 687451"/>
                <a:gd name="T56" fmla="*/ 0 w 1249783"/>
                <a:gd name="T57" fmla="*/ 0 h 687451"/>
                <a:gd name="T58" fmla="*/ 0 w 1249783"/>
                <a:gd name="T59" fmla="*/ 0 h 687451"/>
                <a:gd name="T60" fmla="*/ 0 w 1249783"/>
                <a:gd name="T61" fmla="*/ 0 h 687451"/>
                <a:gd name="T62" fmla="*/ 0 w 1249783"/>
                <a:gd name="T63" fmla="*/ 0 h 687451"/>
                <a:gd name="T64" fmla="*/ 0 w 1249783"/>
                <a:gd name="T65" fmla="*/ 0 h 687451"/>
                <a:gd name="T66" fmla="*/ 0 w 1249783"/>
                <a:gd name="T67" fmla="*/ 0 h 687451"/>
                <a:gd name="T68" fmla="*/ 0 w 1249783"/>
                <a:gd name="T69" fmla="*/ 0 h 687451"/>
                <a:gd name="T70" fmla="*/ 0 w 1249783"/>
                <a:gd name="T71" fmla="*/ 0 h 687451"/>
                <a:gd name="T72" fmla="*/ 0 w 1249783"/>
                <a:gd name="T73" fmla="*/ 0 h 687451"/>
                <a:gd name="T74" fmla="*/ 0 w 1249783"/>
                <a:gd name="T75" fmla="*/ 0 h 687451"/>
                <a:gd name="T76" fmla="*/ 0 w 1249783"/>
                <a:gd name="T77" fmla="*/ 0 h 687451"/>
                <a:gd name="T78" fmla="*/ 0 w 1249783"/>
                <a:gd name="T79" fmla="*/ 0 h 687451"/>
                <a:gd name="T80" fmla="*/ 0 w 1249783"/>
                <a:gd name="T81" fmla="*/ 0 h 687451"/>
                <a:gd name="T82" fmla="*/ 0 w 1249783"/>
                <a:gd name="T83" fmla="*/ 0 h 687451"/>
                <a:gd name="T84" fmla="*/ 0 w 1249783"/>
                <a:gd name="T85" fmla="*/ 0 h 687451"/>
                <a:gd name="T86" fmla="*/ 0 w 1249783"/>
                <a:gd name="T87" fmla="*/ 0 h 687451"/>
                <a:gd name="T88" fmla="*/ 0 w 1249783"/>
                <a:gd name="T89" fmla="*/ 0 h 687451"/>
                <a:gd name="T90" fmla="*/ 0 w 1249783"/>
                <a:gd name="T91" fmla="*/ 0 h 687451"/>
                <a:gd name="T92" fmla="*/ 0 w 1249783"/>
                <a:gd name="T93" fmla="*/ 0 h 687451"/>
                <a:gd name="T94" fmla="*/ 0 w 1249783"/>
                <a:gd name="T95" fmla="*/ 0 h 687451"/>
                <a:gd name="T96" fmla="*/ 0 w 1249783"/>
                <a:gd name="T97" fmla="*/ 0 h 687451"/>
                <a:gd name="T98" fmla="*/ 0 w 1249783"/>
                <a:gd name="T99" fmla="*/ 0 h 687451"/>
                <a:gd name="T100" fmla="*/ 0 w 1249783"/>
                <a:gd name="T101" fmla="*/ 0 h 687451"/>
                <a:gd name="T102" fmla="*/ 0 w 1249783"/>
                <a:gd name="T103" fmla="*/ 0 h 687451"/>
                <a:gd name="T104" fmla="*/ 0 w 1249783"/>
                <a:gd name="T105" fmla="*/ 0 h 687451"/>
                <a:gd name="T106" fmla="*/ 0 w 1249783"/>
                <a:gd name="T107" fmla="*/ 0 h 687451"/>
                <a:gd name="T108" fmla="*/ 0 w 1249783"/>
                <a:gd name="T109" fmla="*/ 0 h 687451"/>
                <a:gd name="T110" fmla="*/ 0 w 1249783"/>
                <a:gd name="T111" fmla="*/ 0 h 687451"/>
                <a:gd name="T112" fmla="*/ 0 w 1249783"/>
                <a:gd name="T113" fmla="*/ 0 h 687451"/>
                <a:gd name="T114" fmla="*/ 0 w 1249783"/>
                <a:gd name="T115" fmla="*/ 0 h 687451"/>
                <a:gd name="T116" fmla="*/ 0 w 1249783"/>
                <a:gd name="T117" fmla="*/ 0 h 687451"/>
                <a:gd name="T118" fmla="*/ 0 w 1249783"/>
                <a:gd name="T119" fmla="*/ 0 h 687451"/>
                <a:gd name="T120" fmla="*/ 0 w 1249783"/>
                <a:gd name="T121" fmla="*/ 0 h 687451"/>
                <a:gd name="T122" fmla="*/ 0 w 1249783"/>
                <a:gd name="T123" fmla="*/ 0 h 68745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49783"/>
                <a:gd name="T187" fmla="*/ 0 h 687451"/>
                <a:gd name="T188" fmla="*/ 1249783 w 1249783"/>
                <a:gd name="T189" fmla="*/ 687451 h 68745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49783" h="687451">
                  <a:moveTo>
                    <a:pt x="1209675" y="409575"/>
                  </a:moveTo>
                  <a:cubicBezTo>
                    <a:pt x="1201737" y="411163"/>
                    <a:pt x="1206422" y="430310"/>
                    <a:pt x="1200150" y="438150"/>
                  </a:cubicBezTo>
                  <a:cubicBezTo>
                    <a:pt x="1183683" y="458733"/>
                    <a:pt x="1131888" y="470429"/>
                    <a:pt x="1114425" y="476250"/>
                  </a:cubicBezTo>
                  <a:lnTo>
                    <a:pt x="1085850" y="485775"/>
                  </a:lnTo>
                  <a:cubicBezTo>
                    <a:pt x="1076325" y="488950"/>
                    <a:pt x="1065629" y="489731"/>
                    <a:pt x="1057275" y="495300"/>
                  </a:cubicBezTo>
                  <a:lnTo>
                    <a:pt x="1028700" y="514350"/>
                  </a:lnTo>
                  <a:cubicBezTo>
                    <a:pt x="977900" y="590550"/>
                    <a:pt x="1044575" y="498475"/>
                    <a:pt x="981075" y="561975"/>
                  </a:cubicBezTo>
                  <a:cubicBezTo>
                    <a:pt x="972980" y="570070"/>
                    <a:pt x="971733" y="584483"/>
                    <a:pt x="962025" y="590550"/>
                  </a:cubicBezTo>
                  <a:cubicBezTo>
                    <a:pt x="946565" y="600212"/>
                    <a:pt x="889081" y="613549"/>
                    <a:pt x="866775" y="619125"/>
                  </a:cubicBezTo>
                  <a:cubicBezTo>
                    <a:pt x="830063" y="674193"/>
                    <a:pt x="869273" y="630758"/>
                    <a:pt x="781050" y="657225"/>
                  </a:cubicBezTo>
                  <a:cubicBezTo>
                    <a:pt x="770085" y="660514"/>
                    <a:pt x="762714" y="671155"/>
                    <a:pt x="752475" y="676275"/>
                  </a:cubicBezTo>
                  <a:cubicBezTo>
                    <a:pt x="743495" y="680765"/>
                    <a:pt x="733425" y="682625"/>
                    <a:pt x="723900" y="685800"/>
                  </a:cubicBezTo>
                  <a:cubicBezTo>
                    <a:pt x="714375" y="682625"/>
                    <a:pt x="705365" y="676275"/>
                    <a:pt x="695325" y="676275"/>
                  </a:cubicBezTo>
                  <a:cubicBezTo>
                    <a:pt x="685285" y="676275"/>
                    <a:pt x="676654" y="687451"/>
                    <a:pt x="666750" y="685800"/>
                  </a:cubicBezTo>
                  <a:cubicBezTo>
                    <a:pt x="655458" y="683918"/>
                    <a:pt x="647700" y="673100"/>
                    <a:pt x="638175" y="666750"/>
                  </a:cubicBezTo>
                  <a:cubicBezTo>
                    <a:pt x="641350" y="657225"/>
                    <a:pt x="651429" y="647497"/>
                    <a:pt x="647700" y="638175"/>
                  </a:cubicBezTo>
                  <a:cubicBezTo>
                    <a:pt x="643448" y="627546"/>
                    <a:pt x="627220" y="627220"/>
                    <a:pt x="619125" y="619125"/>
                  </a:cubicBezTo>
                  <a:cubicBezTo>
                    <a:pt x="576041" y="576041"/>
                    <a:pt x="627130" y="599568"/>
                    <a:pt x="571500" y="581025"/>
                  </a:cubicBezTo>
                  <a:cubicBezTo>
                    <a:pt x="561975" y="584200"/>
                    <a:pt x="552904" y="591659"/>
                    <a:pt x="542925" y="590550"/>
                  </a:cubicBezTo>
                  <a:cubicBezTo>
                    <a:pt x="522967" y="588332"/>
                    <a:pt x="504825" y="577850"/>
                    <a:pt x="485775" y="571500"/>
                  </a:cubicBezTo>
                  <a:cubicBezTo>
                    <a:pt x="457136" y="561954"/>
                    <a:pt x="453244" y="563441"/>
                    <a:pt x="428625" y="542925"/>
                  </a:cubicBezTo>
                  <a:cubicBezTo>
                    <a:pt x="418277" y="534301"/>
                    <a:pt x="411825" y="520892"/>
                    <a:pt x="400050" y="514350"/>
                  </a:cubicBezTo>
                  <a:cubicBezTo>
                    <a:pt x="381077" y="503809"/>
                    <a:pt x="329397" y="491924"/>
                    <a:pt x="304800" y="485775"/>
                  </a:cubicBezTo>
                  <a:cubicBezTo>
                    <a:pt x="279400" y="409575"/>
                    <a:pt x="304800" y="434975"/>
                    <a:pt x="228600" y="409575"/>
                  </a:cubicBezTo>
                  <a:lnTo>
                    <a:pt x="200025" y="400050"/>
                  </a:lnTo>
                  <a:lnTo>
                    <a:pt x="171450" y="390525"/>
                  </a:lnTo>
                  <a:cubicBezTo>
                    <a:pt x="165100" y="381000"/>
                    <a:pt x="162108" y="368017"/>
                    <a:pt x="152400" y="361950"/>
                  </a:cubicBezTo>
                  <a:cubicBezTo>
                    <a:pt x="121408" y="342580"/>
                    <a:pt x="62071" y="338160"/>
                    <a:pt x="28575" y="333375"/>
                  </a:cubicBezTo>
                  <a:cubicBezTo>
                    <a:pt x="18943" y="318928"/>
                    <a:pt x="0" y="295943"/>
                    <a:pt x="0" y="276225"/>
                  </a:cubicBezTo>
                  <a:cubicBezTo>
                    <a:pt x="0" y="266185"/>
                    <a:pt x="5035" y="256630"/>
                    <a:pt x="9525" y="247650"/>
                  </a:cubicBezTo>
                  <a:cubicBezTo>
                    <a:pt x="19531" y="227638"/>
                    <a:pt x="39915" y="203905"/>
                    <a:pt x="57150" y="190500"/>
                  </a:cubicBezTo>
                  <a:cubicBezTo>
                    <a:pt x="75222" y="176444"/>
                    <a:pt x="95250" y="165100"/>
                    <a:pt x="114300" y="152400"/>
                  </a:cubicBezTo>
                  <a:lnTo>
                    <a:pt x="142875" y="133350"/>
                  </a:lnTo>
                  <a:cubicBezTo>
                    <a:pt x="149225" y="123825"/>
                    <a:pt x="151296" y="109027"/>
                    <a:pt x="161925" y="104775"/>
                  </a:cubicBezTo>
                  <a:cubicBezTo>
                    <a:pt x="171247" y="101046"/>
                    <a:pt x="180521" y="115409"/>
                    <a:pt x="190500" y="114300"/>
                  </a:cubicBezTo>
                  <a:cubicBezTo>
                    <a:pt x="231306" y="109766"/>
                    <a:pt x="246451" y="96050"/>
                    <a:pt x="276225" y="76200"/>
                  </a:cubicBezTo>
                  <a:cubicBezTo>
                    <a:pt x="327025" y="93133"/>
                    <a:pt x="295275" y="91017"/>
                    <a:pt x="295275" y="57150"/>
                  </a:cubicBezTo>
                  <a:cubicBezTo>
                    <a:pt x="295275" y="47110"/>
                    <a:pt x="301625" y="38100"/>
                    <a:pt x="304800" y="28575"/>
                  </a:cubicBezTo>
                  <a:cubicBezTo>
                    <a:pt x="314325" y="31750"/>
                    <a:pt x="323376" y="39009"/>
                    <a:pt x="333375" y="38100"/>
                  </a:cubicBezTo>
                  <a:cubicBezTo>
                    <a:pt x="362917" y="35414"/>
                    <a:pt x="406365" y="20120"/>
                    <a:pt x="438150" y="9525"/>
                  </a:cubicBezTo>
                  <a:cubicBezTo>
                    <a:pt x="450850" y="12700"/>
                    <a:pt x="463159" y="19050"/>
                    <a:pt x="476250" y="19050"/>
                  </a:cubicBezTo>
                  <a:cubicBezTo>
                    <a:pt x="499238" y="19050"/>
                    <a:pt x="529901" y="7516"/>
                    <a:pt x="552450" y="0"/>
                  </a:cubicBezTo>
                  <a:cubicBezTo>
                    <a:pt x="552638" y="31"/>
                    <a:pt x="638227" y="12735"/>
                    <a:pt x="647700" y="19050"/>
                  </a:cubicBezTo>
                  <a:cubicBezTo>
                    <a:pt x="657225" y="25400"/>
                    <a:pt x="660400" y="38100"/>
                    <a:pt x="666750" y="47625"/>
                  </a:cubicBezTo>
                  <a:cubicBezTo>
                    <a:pt x="669925" y="60325"/>
                    <a:pt x="669013" y="74833"/>
                    <a:pt x="676275" y="85725"/>
                  </a:cubicBezTo>
                  <a:cubicBezTo>
                    <a:pt x="686826" y="101552"/>
                    <a:pt x="717125" y="108867"/>
                    <a:pt x="733425" y="114300"/>
                  </a:cubicBezTo>
                  <a:cubicBezTo>
                    <a:pt x="739775" y="123825"/>
                    <a:pt x="747826" y="132414"/>
                    <a:pt x="752475" y="142875"/>
                  </a:cubicBezTo>
                  <a:cubicBezTo>
                    <a:pt x="760630" y="161225"/>
                    <a:pt x="765175" y="180975"/>
                    <a:pt x="771525" y="200025"/>
                  </a:cubicBezTo>
                  <a:lnTo>
                    <a:pt x="790575" y="257175"/>
                  </a:lnTo>
                  <a:lnTo>
                    <a:pt x="809625" y="314325"/>
                  </a:lnTo>
                  <a:lnTo>
                    <a:pt x="819150" y="342900"/>
                  </a:lnTo>
                  <a:cubicBezTo>
                    <a:pt x="828675" y="339725"/>
                    <a:pt x="839885" y="339647"/>
                    <a:pt x="847725" y="333375"/>
                  </a:cubicBezTo>
                  <a:cubicBezTo>
                    <a:pt x="856664" y="326224"/>
                    <a:pt x="856146" y="309052"/>
                    <a:pt x="866775" y="304800"/>
                  </a:cubicBezTo>
                  <a:cubicBezTo>
                    <a:pt x="876097" y="301071"/>
                    <a:pt x="885825" y="311150"/>
                    <a:pt x="895350" y="314325"/>
                  </a:cubicBezTo>
                  <a:cubicBezTo>
                    <a:pt x="898525" y="323850"/>
                    <a:pt x="899306" y="334546"/>
                    <a:pt x="904875" y="342900"/>
                  </a:cubicBezTo>
                  <a:cubicBezTo>
                    <a:pt x="912347" y="354108"/>
                    <a:pt x="923102" y="362851"/>
                    <a:pt x="933450" y="371475"/>
                  </a:cubicBezTo>
                  <a:cubicBezTo>
                    <a:pt x="942244" y="378804"/>
                    <a:pt x="951564" y="385876"/>
                    <a:pt x="962025" y="390525"/>
                  </a:cubicBezTo>
                  <a:cubicBezTo>
                    <a:pt x="1007308" y="410651"/>
                    <a:pt x="1028402" y="411113"/>
                    <a:pt x="1076325" y="419100"/>
                  </a:cubicBezTo>
                  <a:cubicBezTo>
                    <a:pt x="1104900" y="415925"/>
                    <a:pt x="1133551" y="413375"/>
                    <a:pt x="1162050" y="409575"/>
                  </a:cubicBezTo>
                  <a:cubicBezTo>
                    <a:pt x="1181193" y="407023"/>
                    <a:pt x="1200347" y="395860"/>
                    <a:pt x="1219200" y="400050"/>
                  </a:cubicBezTo>
                  <a:cubicBezTo>
                    <a:pt x="1232350" y="402972"/>
                    <a:pt x="1243515" y="415846"/>
                    <a:pt x="1247775" y="428625"/>
                  </a:cubicBezTo>
                  <a:cubicBezTo>
                    <a:pt x="1249783" y="434649"/>
                    <a:pt x="1217613" y="407987"/>
                    <a:pt x="1209675" y="409575"/>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46" name="Freeform 45"/>
            <p:cNvSpPr/>
            <p:nvPr/>
          </p:nvSpPr>
          <p:spPr bwMode="auto">
            <a:xfrm>
              <a:off x="1828799" y="3994150"/>
              <a:ext cx="663576" cy="1117600"/>
            </a:xfrm>
            <a:custGeom>
              <a:avLst/>
              <a:gdLst>
                <a:gd name="connsiteX0" fmla="*/ 262731 w 857483"/>
                <a:gd name="connsiteY0" fmla="*/ 547810 h 1465050"/>
                <a:gd name="connsiteX1" fmla="*/ 272256 w 857483"/>
                <a:gd name="connsiteY1" fmla="*/ 633535 h 1465050"/>
                <a:gd name="connsiteX2" fmla="*/ 281781 w 857483"/>
                <a:gd name="connsiteY2" fmla="*/ 662110 h 1465050"/>
                <a:gd name="connsiteX3" fmla="*/ 272256 w 857483"/>
                <a:gd name="connsiteY3" fmla="*/ 709735 h 1465050"/>
                <a:gd name="connsiteX4" fmla="*/ 300831 w 857483"/>
                <a:gd name="connsiteY4" fmla="*/ 738310 h 1465050"/>
                <a:gd name="connsiteX5" fmla="*/ 262731 w 857483"/>
                <a:gd name="connsiteY5" fmla="*/ 776410 h 1465050"/>
                <a:gd name="connsiteX6" fmla="*/ 243681 w 857483"/>
                <a:gd name="connsiteY6" fmla="*/ 833560 h 1465050"/>
                <a:gd name="connsiteX7" fmla="*/ 215106 w 857483"/>
                <a:gd name="connsiteY7" fmla="*/ 890710 h 1465050"/>
                <a:gd name="connsiteX8" fmla="*/ 205581 w 857483"/>
                <a:gd name="connsiteY8" fmla="*/ 938335 h 1465050"/>
                <a:gd name="connsiteX9" fmla="*/ 110331 w 857483"/>
                <a:gd name="connsiteY9" fmla="*/ 966910 h 1465050"/>
                <a:gd name="connsiteX10" fmla="*/ 91281 w 857483"/>
                <a:gd name="connsiteY10" fmla="*/ 995485 h 1465050"/>
                <a:gd name="connsiteX11" fmla="*/ 81756 w 857483"/>
                <a:gd name="connsiteY11" fmla="*/ 1033585 h 1465050"/>
                <a:gd name="connsiteX12" fmla="*/ 53181 w 857483"/>
                <a:gd name="connsiteY12" fmla="*/ 1062160 h 1465050"/>
                <a:gd name="connsiteX13" fmla="*/ 15081 w 857483"/>
                <a:gd name="connsiteY13" fmla="*/ 1147885 h 1465050"/>
                <a:gd name="connsiteX14" fmla="*/ 24606 w 857483"/>
                <a:gd name="connsiteY14" fmla="*/ 1205035 h 1465050"/>
                <a:gd name="connsiteX15" fmla="*/ 34131 w 857483"/>
                <a:gd name="connsiteY15" fmla="*/ 1233610 h 1465050"/>
                <a:gd name="connsiteX16" fmla="*/ 24606 w 857483"/>
                <a:gd name="connsiteY16" fmla="*/ 1262185 h 1465050"/>
                <a:gd name="connsiteX17" fmla="*/ 34131 w 857483"/>
                <a:gd name="connsiteY17" fmla="*/ 1300285 h 1465050"/>
                <a:gd name="connsiteX18" fmla="*/ 15081 w 857483"/>
                <a:gd name="connsiteY18" fmla="*/ 1366960 h 1465050"/>
                <a:gd name="connsiteX19" fmla="*/ 24606 w 857483"/>
                <a:gd name="connsiteY19" fmla="*/ 1395535 h 1465050"/>
                <a:gd name="connsiteX20" fmla="*/ 15081 w 857483"/>
                <a:gd name="connsiteY20" fmla="*/ 1452685 h 1465050"/>
                <a:gd name="connsiteX21" fmla="*/ 100806 w 857483"/>
                <a:gd name="connsiteY21" fmla="*/ 1414585 h 1465050"/>
                <a:gd name="connsiteX22" fmla="*/ 129381 w 857483"/>
                <a:gd name="connsiteY22" fmla="*/ 1357435 h 1465050"/>
                <a:gd name="connsiteX23" fmla="*/ 148431 w 857483"/>
                <a:gd name="connsiteY23" fmla="*/ 1328860 h 1465050"/>
                <a:gd name="connsiteX24" fmla="*/ 157956 w 857483"/>
                <a:gd name="connsiteY24" fmla="*/ 1300285 h 1465050"/>
                <a:gd name="connsiteX25" fmla="*/ 177006 w 857483"/>
                <a:gd name="connsiteY25" fmla="*/ 1271710 h 1465050"/>
                <a:gd name="connsiteX26" fmla="*/ 186531 w 857483"/>
                <a:gd name="connsiteY26" fmla="*/ 1243135 h 1465050"/>
                <a:gd name="connsiteX27" fmla="*/ 215106 w 857483"/>
                <a:gd name="connsiteY27" fmla="*/ 1185985 h 1465050"/>
                <a:gd name="connsiteX28" fmla="*/ 196056 w 857483"/>
                <a:gd name="connsiteY28" fmla="*/ 1119310 h 1465050"/>
                <a:gd name="connsiteX29" fmla="*/ 177006 w 857483"/>
                <a:gd name="connsiteY29" fmla="*/ 1090735 h 1465050"/>
                <a:gd name="connsiteX30" fmla="*/ 196056 w 857483"/>
                <a:gd name="connsiteY30" fmla="*/ 1062160 h 1465050"/>
                <a:gd name="connsiteX31" fmla="*/ 205581 w 857483"/>
                <a:gd name="connsiteY31" fmla="*/ 1033585 h 1465050"/>
                <a:gd name="connsiteX32" fmla="*/ 234156 w 857483"/>
                <a:gd name="connsiteY32" fmla="*/ 1014535 h 1465050"/>
                <a:gd name="connsiteX33" fmla="*/ 291306 w 857483"/>
                <a:gd name="connsiteY33" fmla="*/ 928810 h 1465050"/>
                <a:gd name="connsiteX34" fmla="*/ 310356 w 857483"/>
                <a:gd name="connsiteY34" fmla="*/ 900235 h 1465050"/>
                <a:gd name="connsiteX35" fmla="*/ 338931 w 857483"/>
                <a:gd name="connsiteY35" fmla="*/ 843085 h 1465050"/>
                <a:gd name="connsiteX36" fmla="*/ 396081 w 857483"/>
                <a:gd name="connsiteY36" fmla="*/ 814510 h 1465050"/>
                <a:gd name="connsiteX37" fmla="*/ 453231 w 857483"/>
                <a:gd name="connsiteY37" fmla="*/ 776410 h 1465050"/>
                <a:gd name="connsiteX38" fmla="*/ 500856 w 857483"/>
                <a:gd name="connsiteY38" fmla="*/ 738310 h 1465050"/>
                <a:gd name="connsiteX39" fmla="*/ 529431 w 857483"/>
                <a:gd name="connsiteY39" fmla="*/ 747835 h 1465050"/>
                <a:gd name="connsiteX40" fmla="*/ 615156 w 857483"/>
                <a:gd name="connsiteY40" fmla="*/ 719260 h 1465050"/>
                <a:gd name="connsiteX41" fmla="*/ 643731 w 857483"/>
                <a:gd name="connsiteY41" fmla="*/ 709735 h 1465050"/>
                <a:gd name="connsiteX42" fmla="*/ 700881 w 857483"/>
                <a:gd name="connsiteY42" fmla="*/ 662110 h 1465050"/>
                <a:gd name="connsiteX43" fmla="*/ 758031 w 857483"/>
                <a:gd name="connsiteY43" fmla="*/ 614485 h 1465050"/>
                <a:gd name="connsiteX44" fmla="*/ 805656 w 857483"/>
                <a:gd name="connsiteY44" fmla="*/ 557335 h 1465050"/>
                <a:gd name="connsiteX45" fmla="*/ 853281 w 857483"/>
                <a:gd name="connsiteY45" fmla="*/ 509710 h 1465050"/>
                <a:gd name="connsiteX46" fmla="*/ 805656 w 857483"/>
                <a:gd name="connsiteY46" fmla="*/ 490660 h 1465050"/>
                <a:gd name="connsiteX47" fmla="*/ 777081 w 857483"/>
                <a:gd name="connsiteY47" fmla="*/ 481135 h 1465050"/>
                <a:gd name="connsiteX48" fmla="*/ 767556 w 857483"/>
                <a:gd name="connsiteY48" fmla="*/ 452560 h 1465050"/>
                <a:gd name="connsiteX49" fmla="*/ 777081 w 857483"/>
                <a:gd name="connsiteY49" fmla="*/ 423985 h 1465050"/>
                <a:gd name="connsiteX50" fmla="*/ 662781 w 857483"/>
                <a:gd name="connsiteY50" fmla="*/ 366835 h 1465050"/>
                <a:gd name="connsiteX51" fmla="*/ 605631 w 857483"/>
                <a:gd name="connsiteY51" fmla="*/ 338260 h 1465050"/>
                <a:gd name="connsiteX52" fmla="*/ 510381 w 857483"/>
                <a:gd name="connsiteY52" fmla="*/ 309685 h 1465050"/>
                <a:gd name="connsiteX53" fmla="*/ 481806 w 857483"/>
                <a:gd name="connsiteY53" fmla="*/ 290635 h 1465050"/>
                <a:gd name="connsiteX54" fmla="*/ 491331 w 857483"/>
                <a:gd name="connsiteY54" fmla="*/ 243010 h 1465050"/>
                <a:gd name="connsiteX55" fmla="*/ 558006 w 857483"/>
                <a:gd name="connsiteY55" fmla="*/ 166810 h 1465050"/>
                <a:gd name="connsiteX56" fmla="*/ 577056 w 857483"/>
                <a:gd name="connsiteY56" fmla="*/ 138235 h 1465050"/>
                <a:gd name="connsiteX57" fmla="*/ 634206 w 857483"/>
                <a:gd name="connsiteY57" fmla="*/ 119185 h 1465050"/>
                <a:gd name="connsiteX58" fmla="*/ 653256 w 857483"/>
                <a:gd name="connsiteY58" fmla="*/ 90610 h 1465050"/>
                <a:gd name="connsiteX59" fmla="*/ 681831 w 857483"/>
                <a:gd name="connsiteY59" fmla="*/ 100135 h 1465050"/>
                <a:gd name="connsiteX60" fmla="*/ 710406 w 857483"/>
                <a:gd name="connsiteY60" fmla="*/ 90610 h 1465050"/>
                <a:gd name="connsiteX61" fmla="*/ 796131 w 857483"/>
                <a:gd name="connsiteY61" fmla="*/ 42985 h 1465050"/>
                <a:gd name="connsiteX62" fmla="*/ 777081 w 857483"/>
                <a:gd name="connsiteY62" fmla="*/ 4885 h 1465050"/>
                <a:gd name="connsiteX63" fmla="*/ 719931 w 857483"/>
                <a:gd name="connsiteY63" fmla="*/ 23935 h 1465050"/>
                <a:gd name="connsiteX64" fmla="*/ 672306 w 857483"/>
                <a:gd name="connsiteY64" fmla="*/ 33460 h 1465050"/>
                <a:gd name="connsiteX65" fmla="*/ 615156 w 857483"/>
                <a:gd name="connsiteY65" fmla="*/ 42985 h 1465050"/>
                <a:gd name="connsiteX66" fmla="*/ 548481 w 857483"/>
                <a:gd name="connsiteY66" fmla="*/ 52510 h 1465050"/>
                <a:gd name="connsiteX67" fmla="*/ 453231 w 857483"/>
                <a:gd name="connsiteY67" fmla="*/ 71560 h 1465050"/>
                <a:gd name="connsiteX68" fmla="*/ 424656 w 857483"/>
                <a:gd name="connsiteY68" fmla="*/ 81085 h 1465050"/>
                <a:gd name="connsiteX69" fmla="*/ 377031 w 857483"/>
                <a:gd name="connsiteY69" fmla="*/ 128710 h 1465050"/>
                <a:gd name="connsiteX70" fmla="*/ 348456 w 857483"/>
                <a:gd name="connsiteY70" fmla="*/ 157285 h 1465050"/>
                <a:gd name="connsiteX71" fmla="*/ 310356 w 857483"/>
                <a:gd name="connsiteY71" fmla="*/ 166810 h 1465050"/>
                <a:gd name="connsiteX72" fmla="*/ 262731 w 857483"/>
                <a:gd name="connsiteY72" fmla="*/ 252535 h 1465050"/>
                <a:gd name="connsiteX73" fmla="*/ 234156 w 857483"/>
                <a:gd name="connsiteY73" fmla="*/ 262060 h 1465050"/>
                <a:gd name="connsiteX74" fmla="*/ 224631 w 857483"/>
                <a:gd name="connsiteY74" fmla="*/ 290635 h 1465050"/>
                <a:gd name="connsiteX75" fmla="*/ 253206 w 857483"/>
                <a:gd name="connsiteY75" fmla="*/ 300160 h 1465050"/>
                <a:gd name="connsiteX76" fmla="*/ 272256 w 857483"/>
                <a:gd name="connsiteY76" fmla="*/ 328735 h 1465050"/>
                <a:gd name="connsiteX77" fmla="*/ 291306 w 857483"/>
                <a:gd name="connsiteY77" fmla="*/ 385885 h 1465050"/>
                <a:gd name="connsiteX78" fmla="*/ 281781 w 857483"/>
                <a:gd name="connsiteY78" fmla="*/ 471610 h 1465050"/>
                <a:gd name="connsiteX79" fmla="*/ 262731 w 857483"/>
                <a:gd name="connsiteY79" fmla="*/ 547810 h 1465050"/>
                <a:gd name="connsiteX80" fmla="*/ 253206 w 857483"/>
                <a:gd name="connsiteY80" fmla="*/ 576385 h 1465050"/>
                <a:gd name="connsiteX81" fmla="*/ 262731 w 857483"/>
                <a:gd name="connsiteY81" fmla="*/ 547810 h 146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57483" h="1465050">
                  <a:moveTo>
                    <a:pt x="262731" y="547810"/>
                  </a:moveTo>
                  <a:cubicBezTo>
                    <a:pt x="246856" y="595435"/>
                    <a:pt x="250031" y="566860"/>
                    <a:pt x="272256" y="633535"/>
                  </a:cubicBezTo>
                  <a:lnTo>
                    <a:pt x="281781" y="662110"/>
                  </a:lnTo>
                  <a:cubicBezTo>
                    <a:pt x="278606" y="677985"/>
                    <a:pt x="268329" y="694029"/>
                    <a:pt x="272256" y="709735"/>
                  </a:cubicBezTo>
                  <a:cubicBezTo>
                    <a:pt x="275523" y="722803"/>
                    <a:pt x="296571" y="725531"/>
                    <a:pt x="300831" y="738310"/>
                  </a:cubicBezTo>
                  <a:cubicBezTo>
                    <a:pt x="310991" y="768790"/>
                    <a:pt x="277971" y="771330"/>
                    <a:pt x="262731" y="776410"/>
                  </a:cubicBezTo>
                  <a:cubicBezTo>
                    <a:pt x="256381" y="795460"/>
                    <a:pt x="254820" y="816852"/>
                    <a:pt x="243681" y="833560"/>
                  </a:cubicBezTo>
                  <a:cubicBezTo>
                    <a:pt x="225057" y="861496"/>
                    <a:pt x="222993" y="859162"/>
                    <a:pt x="215106" y="890710"/>
                  </a:cubicBezTo>
                  <a:cubicBezTo>
                    <a:pt x="211179" y="906416"/>
                    <a:pt x="213613" y="924279"/>
                    <a:pt x="205581" y="938335"/>
                  </a:cubicBezTo>
                  <a:cubicBezTo>
                    <a:pt x="190179" y="965288"/>
                    <a:pt x="125869" y="964690"/>
                    <a:pt x="110331" y="966910"/>
                  </a:cubicBezTo>
                  <a:cubicBezTo>
                    <a:pt x="103981" y="976435"/>
                    <a:pt x="95790" y="984963"/>
                    <a:pt x="91281" y="995485"/>
                  </a:cubicBezTo>
                  <a:cubicBezTo>
                    <a:pt x="86124" y="1007517"/>
                    <a:pt x="88251" y="1022219"/>
                    <a:pt x="81756" y="1033585"/>
                  </a:cubicBezTo>
                  <a:cubicBezTo>
                    <a:pt x="75073" y="1045281"/>
                    <a:pt x="62706" y="1052635"/>
                    <a:pt x="53181" y="1062160"/>
                  </a:cubicBezTo>
                  <a:cubicBezTo>
                    <a:pt x="30511" y="1130170"/>
                    <a:pt x="45270" y="1102602"/>
                    <a:pt x="15081" y="1147885"/>
                  </a:cubicBezTo>
                  <a:cubicBezTo>
                    <a:pt x="18256" y="1166935"/>
                    <a:pt x="20416" y="1186182"/>
                    <a:pt x="24606" y="1205035"/>
                  </a:cubicBezTo>
                  <a:cubicBezTo>
                    <a:pt x="26784" y="1214836"/>
                    <a:pt x="34131" y="1223570"/>
                    <a:pt x="34131" y="1233610"/>
                  </a:cubicBezTo>
                  <a:cubicBezTo>
                    <a:pt x="34131" y="1243650"/>
                    <a:pt x="27781" y="1252660"/>
                    <a:pt x="24606" y="1262185"/>
                  </a:cubicBezTo>
                  <a:cubicBezTo>
                    <a:pt x="27781" y="1274885"/>
                    <a:pt x="34131" y="1287194"/>
                    <a:pt x="34131" y="1300285"/>
                  </a:cubicBezTo>
                  <a:cubicBezTo>
                    <a:pt x="34131" y="1312245"/>
                    <a:pt x="19573" y="1353485"/>
                    <a:pt x="15081" y="1366960"/>
                  </a:cubicBezTo>
                  <a:cubicBezTo>
                    <a:pt x="18256" y="1376485"/>
                    <a:pt x="24606" y="1385495"/>
                    <a:pt x="24606" y="1395535"/>
                  </a:cubicBezTo>
                  <a:cubicBezTo>
                    <a:pt x="24606" y="1414848"/>
                    <a:pt x="0" y="1440620"/>
                    <a:pt x="15081" y="1452685"/>
                  </a:cubicBezTo>
                  <a:cubicBezTo>
                    <a:pt x="30538" y="1465050"/>
                    <a:pt x="85483" y="1424800"/>
                    <a:pt x="100806" y="1414585"/>
                  </a:cubicBezTo>
                  <a:cubicBezTo>
                    <a:pt x="155401" y="1332693"/>
                    <a:pt x="89946" y="1436305"/>
                    <a:pt x="129381" y="1357435"/>
                  </a:cubicBezTo>
                  <a:cubicBezTo>
                    <a:pt x="134501" y="1347196"/>
                    <a:pt x="143311" y="1339099"/>
                    <a:pt x="148431" y="1328860"/>
                  </a:cubicBezTo>
                  <a:cubicBezTo>
                    <a:pt x="152921" y="1319880"/>
                    <a:pt x="153466" y="1309265"/>
                    <a:pt x="157956" y="1300285"/>
                  </a:cubicBezTo>
                  <a:cubicBezTo>
                    <a:pt x="163076" y="1290046"/>
                    <a:pt x="171886" y="1281949"/>
                    <a:pt x="177006" y="1271710"/>
                  </a:cubicBezTo>
                  <a:cubicBezTo>
                    <a:pt x="181496" y="1262730"/>
                    <a:pt x="182041" y="1252115"/>
                    <a:pt x="186531" y="1243135"/>
                  </a:cubicBezTo>
                  <a:cubicBezTo>
                    <a:pt x="223460" y="1169277"/>
                    <a:pt x="191165" y="1257809"/>
                    <a:pt x="215106" y="1185985"/>
                  </a:cubicBezTo>
                  <a:cubicBezTo>
                    <a:pt x="212054" y="1173778"/>
                    <a:pt x="202888" y="1132975"/>
                    <a:pt x="196056" y="1119310"/>
                  </a:cubicBezTo>
                  <a:cubicBezTo>
                    <a:pt x="190936" y="1109071"/>
                    <a:pt x="183356" y="1100260"/>
                    <a:pt x="177006" y="1090735"/>
                  </a:cubicBezTo>
                  <a:cubicBezTo>
                    <a:pt x="183356" y="1081210"/>
                    <a:pt x="190936" y="1072399"/>
                    <a:pt x="196056" y="1062160"/>
                  </a:cubicBezTo>
                  <a:cubicBezTo>
                    <a:pt x="200546" y="1053180"/>
                    <a:pt x="199309" y="1041425"/>
                    <a:pt x="205581" y="1033585"/>
                  </a:cubicBezTo>
                  <a:cubicBezTo>
                    <a:pt x="212732" y="1024646"/>
                    <a:pt x="224631" y="1020885"/>
                    <a:pt x="234156" y="1014535"/>
                  </a:cubicBezTo>
                  <a:lnTo>
                    <a:pt x="291306" y="928810"/>
                  </a:lnTo>
                  <a:cubicBezTo>
                    <a:pt x="297656" y="919285"/>
                    <a:pt x="306736" y="911095"/>
                    <a:pt x="310356" y="900235"/>
                  </a:cubicBezTo>
                  <a:cubicBezTo>
                    <a:pt x="318103" y="876994"/>
                    <a:pt x="320467" y="861549"/>
                    <a:pt x="338931" y="843085"/>
                  </a:cubicBezTo>
                  <a:cubicBezTo>
                    <a:pt x="370645" y="811371"/>
                    <a:pt x="361220" y="833877"/>
                    <a:pt x="396081" y="814510"/>
                  </a:cubicBezTo>
                  <a:cubicBezTo>
                    <a:pt x="416095" y="803391"/>
                    <a:pt x="453231" y="776410"/>
                    <a:pt x="453231" y="776410"/>
                  </a:cubicBezTo>
                  <a:cubicBezTo>
                    <a:pt x="467859" y="754469"/>
                    <a:pt x="470184" y="738310"/>
                    <a:pt x="500856" y="738310"/>
                  </a:cubicBezTo>
                  <a:cubicBezTo>
                    <a:pt x="510896" y="738310"/>
                    <a:pt x="519906" y="744660"/>
                    <a:pt x="529431" y="747835"/>
                  </a:cubicBezTo>
                  <a:lnTo>
                    <a:pt x="615156" y="719260"/>
                  </a:lnTo>
                  <a:lnTo>
                    <a:pt x="643731" y="709735"/>
                  </a:lnTo>
                  <a:cubicBezTo>
                    <a:pt x="727213" y="626253"/>
                    <a:pt x="621315" y="728415"/>
                    <a:pt x="700881" y="662110"/>
                  </a:cubicBezTo>
                  <a:cubicBezTo>
                    <a:pt x="774220" y="600994"/>
                    <a:pt x="687085" y="661783"/>
                    <a:pt x="758031" y="614485"/>
                  </a:cubicBezTo>
                  <a:cubicBezTo>
                    <a:pt x="805329" y="543539"/>
                    <a:pt x="744540" y="630674"/>
                    <a:pt x="805656" y="557335"/>
                  </a:cubicBezTo>
                  <a:cubicBezTo>
                    <a:pt x="845344" y="509710"/>
                    <a:pt x="800894" y="544635"/>
                    <a:pt x="853281" y="509710"/>
                  </a:cubicBezTo>
                  <a:cubicBezTo>
                    <a:pt x="836559" y="459543"/>
                    <a:pt x="857483" y="490660"/>
                    <a:pt x="805656" y="490660"/>
                  </a:cubicBezTo>
                  <a:cubicBezTo>
                    <a:pt x="795616" y="490660"/>
                    <a:pt x="786606" y="484310"/>
                    <a:pt x="777081" y="481135"/>
                  </a:cubicBezTo>
                  <a:cubicBezTo>
                    <a:pt x="773906" y="471610"/>
                    <a:pt x="767556" y="462600"/>
                    <a:pt x="767556" y="452560"/>
                  </a:cubicBezTo>
                  <a:cubicBezTo>
                    <a:pt x="767556" y="442520"/>
                    <a:pt x="782917" y="432155"/>
                    <a:pt x="777081" y="423985"/>
                  </a:cubicBezTo>
                  <a:cubicBezTo>
                    <a:pt x="754000" y="391672"/>
                    <a:pt x="697117" y="378280"/>
                    <a:pt x="662781" y="366835"/>
                  </a:cubicBezTo>
                  <a:cubicBezTo>
                    <a:pt x="558568" y="332097"/>
                    <a:pt x="716418" y="387499"/>
                    <a:pt x="605631" y="338260"/>
                  </a:cubicBezTo>
                  <a:cubicBezTo>
                    <a:pt x="575816" y="325009"/>
                    <a:pt x="542046" y="317601"/>
                    <a:pt x="510381" y="309685"/>
                  </a:cubicBezTo>
                  <a:cubicBezTo>
                    <a:pt x="500856" y="303335"/>
                    <a:pt x="484951" y="301642"/>
                    <a:pt x="481806" y="290635"/>
                  </a:cubicBezTo>
                  <a:cubicBezTo>
                    <a:pt x="477358" y="275069"/>
                    <a:pt x="484632" y="257748"/>
                    <a:pt x="491331" y="243010"/>
                  </a:cubicBezTo>
                  <a:cubicBezTo>
                    <a:pt x="515489" y="189863"/>
                    <a:pt x="520527" y="191796"/>
                    <a:pt x="558006" y="166810"/>
                  </a:cubicBezTo>
                  <a:cubicBezTo>
                    <a:pt x="564356" y="157285"/>
                    <a:pt x="567348" y="144302"/>
                    <a:pt x="577056" y="138235"/>
                  </a:cubicBezTo>
                  <a:cubicBezTo>
                    <a:pt x="594084" y="127592"/>
                    <a:pt x="634206" y="119185"/>
                    <a:pt x="634206" y="119185"/>
                  </a:cubicBezTo>
                  <a:cubicBezTo>
                    <a:pt x="640556" y="109660"/>
                    <a:pt x="642627" y="94862"/>
                    <a:pt x="653256" y="90610"/>
                  </a:cubicBezTo>
                  <a:cubicBezTo>
                    <a:pt x="662578" y="86881"/>
                    <a:pt x="671791" y="100135"/>
                    <a:pt x="681831" y="100135"/>
                  </a:cubicBezTo>
                  <a:cubicBezTo>
                    <a:pt x="691871" y="100135"/>
                    <a:pt x="701629" y="95486"/>
                    <a:pt x="710406" y="90610"/>
                  </a:cubicBezTo>
                  <a:cubicBezTo>
                    <a:pt x="808662" y="36023"/>
                    <a:pt x="731473" y="64538"/>
                    <a:pt x="796131" y="42985"/>
                  </a:cubicBezTo>
                  <a:cubicBezTo>
                    <a:pt x="802969" y="22470"/>
                    <a:pt x="821043" y="0"/>
                    <a:pt x="777081" y="4885"/>
                  </a:cubicBezTo>
                  <a:cubicBezTo>
                    <a:pt x="757123" y="7103"/>
                    <a:pt x="739622" y="19997"/>
                    <a:pt x="719931" y="23935"/>
                  </a:cubicBezTo>
                  <a:lnTo>
                    <a:pt x="672306" y="33460"/>
                  </a:lnTo>
                  <a:cubicBezTo>
                    <a:pt x="653305" y="36915"/>
                    <a:pt x="634244" y="40048"/>
                    <a:pt x="615156" y="42985"/>
                  </a:cubicBezTo>
                  <a:cubicBezTo>
                    <a:pt x="592966" y="46399"/>
                    <a:pt x="570590" y="48608"/>
                    <a:pt x="548481" y="52510"/>
                  </a:cubicBezTo>
                  <a:cubicBezTo>
                    <a:pt x="516595" y="58137"/>
                    <a:pt x="483948" y="61321"/>
                    <a:pt x="453231" y="71560"/>
                  </a:cubicBezTo>
                  <a:lnTo>
                    <a:pt x="424656" y="81085"/>
                  </a:lnTo>
                  <a:cubicBezTo>
                    <a:pt x="389731" y="133473"/>
                    <a:pt x="424656" y="89023"/>
                    <a:pt x="377031" y="128710"/>
                  </a:cubicBezTo>
                  <a:cubicBezTo>
                    <a:pt x="366683" y="137334"/>
                    <a:pt x="360152" y="150602"/>
                    <a:pt x="348456" y="157285"/>
                  </a:cubicBezTo>
                  <a:cubicBezTo>
                    <a:pt x="337090" y="163780"/>
                    <a:pt x="323056" y="163635"/>
                    <a:pt x="310356" y="166810"/>
                  </a:cubicBezTo>
                  <a:cubicBezTo>
                    <a:pt x="301969" y="191971"/>
                    <a:pt x="287295" y="244347"/>
                    <a:pt x="262731" y="252535"/>
                  </a:cubicBezTo>
                  <a:lnTo>
                    <a:pt x="234156" y="262060"/>
                  </a:lnTo>
                  <a:cubicBezTo>
                    <a:pt x="230981" y="271585"/>
                    <a:pt x="220141" y="281655"/>
                    <a:pt x="224631" y="290635"/>
                  </a:cubicBezTo>
                  <a:cubicBezTo>
                    <a:pt x="229121" y="299615"/>
                    <a:pt x="245366" y="293888"/>
                    <a:pt x="253206" y="300160"/>
                  </a:cubicBezTo>
                  <a:cubicBezTo>
                    <a:pt x="262145" y="307311"/>
                    <a:pt x="267607" y="318274"/>
                    <a:pt x="272256" y="328735"/>
                  </a:cubicBezTo>
                  <a:cubicBezTo>
                    <a:pt x="280411" y="347085"/>
                    <a:pt x="291306" y="385885"/>
                    <a:pt x="291306" y="385885"/>
                  </a:cubicBezTo>
                  <a:cubicBezTo>
                    <a:pt x="269081" y="452560"/>
                    <a:pt x="265906" y="423985"/>
                    <a:pt x="281781" y="471610"/>
                  </a:cubicBezTo>
                  <a:cubicBezTo>
                    <a:pt x="260008" y="536929"/>
                    <a:pt x="285719" y="455858"/>
                    <a:pt x="262731" y="547810"/>
                  </a:cubicBezTo>
                  <a:cubicBezTo>
                    <a:pt x="260296" y="557550"/>
                    <a:pt x="248716" y="567405"/>
                    <a:pt x="253206" y="576385"/>
                  </a:cubicBezTo>
                  <a:cubicBezTo>
                    <a:pt x="256381" y="582735"/>
                    <a:pt x="265906" y="570035"/>
                    <a:pt x="262731" y="547810"/>
                  </a:cubicBezTo>
                  <a:close/>
                </a:path>
              </a:pathLst>
            </a:custGeom>
            <a:grpFill/>
            <a:ln w="12700" cap="flat" cmpd="sng" algn="ctr">
              <a:solidFill>
                <a:schemeClr val="bg1"/>
              </a:solidFill>
              <a:prstDash val="solid"/>
              <a:round/>
              <a:headEnd type="none" w="sm" len="sm"/>
              <a:tailEnd type="none" w="sm" len="sm"/>
            </a:ln>
            <a:effectLst/>
          </p:spPr>
          <p:txBody>
            <a:bodyPr/>
            <a:lstStyle/>
            <a:p>
              <a:pPr>
                <a:defRPr/>
              </a:pPr>
              <a:endParaRPr lang="en-GB" dirty="0">
                <a:solidFill>
                  <a:srgbClr val="626469"/>
                </a:solidFill>
              </a:endParaRPr>
            </a:p>
          </p:txBody>
        </p:sp>
        <p:sp>
          <p:nvSpPr>
            <p:cNvPr id="47" name="Freeform 180"/>
            <p:cNvSpPr>
              <a:spLocks noChangeArrowheads="1"/>
            </p:cNvSpPr>
            <p:nvPr/>
          </p:nvSpPr>
          <p:spPr bwMode="auto">
            <a:xfrm>
              <a:off x="1578051" y="4380118"/>
              <a:ext cx="477100" cy="720064"/>
            </a:xfrm>
            <a:custGeom>
              <a:avLst/>
              <a:gdLst>
                <a:gd name="T0" fmla="*/ 0 w 636058"/>
                <a:gd name="T1" fmla="*/ 0 h 960111"/>
                <a:gd name="T2" fmla="*/ 0 w 636058"/>
                <a:gd name="T3" fmla="*/ 0 h 960111"/>
                <a:gd name="T4" fmla="*/ 0 w 636058"/>
                <a:gd name="T5" fmla="*/ 0 h 960111"/>
                <a:gd name="T6" fmla="*/ 0 w 636058"/>
                <a:gd name="T7" fmla="*/ 0 h 960111"/>
                <a:gd name="T8" fmla="*/ 0 w 636058"/>
                <a:gd name="T9" fmla="*/ 0 h 960111"/>
                <a:gd name="T10" fmla="*/ 0 w 636058"/>
                <a:gd name="T11" fmla="*/ 0 h 960111"/>
                <a:gd name="T12" fmla="*/ 0 w 636058"/>
                <a:gd name="T13" fmla="*/ 0 h 960111"/>
                <a:gd name="T14" fmla="*/ 0 w 636058"/>
                <a:gd name="T15" fmla="*/ 0 h 960111"/>
                <a:gd name="T16" fmla="*/ 0 w 636058"/>
                <a:gd name="T17" fmla="*/ 0 h 960111"/>
                <a:gd name="T18" fmla="*/ 0 w 636058"/>
                <a:gd name="T19" fmla="*/ 0 h 960111"/>
                <a:gd name="T20" fmla="*/ 0 w 636058"/>
                <a:gd name="T21" fmla="*/ 0 h 960111"/>
                <a:gd name="T22" fmla="*/ 0 w 636058"/>
                <a:gd name="T23" fmla="*/ 0 h 960111"/>
                <a:gd name="T24" fmla="*/ 0 w 636058"/>
                <a:gd name="T25" fmla="*/ 0 h 960111"/>
                <a:gd name="T26" fmla="*/ 0 w 636058"/>
                <a:gd name="T27" fmla="*/ 0 h 960111"/>
                <a:gd name="T28" fmla="*/ 0 w 636058"/>
                <a:gd name="T29" fmla="*/ 0 h 960111"/>
                <a:gd name="T30" fmla="*/ 0 w 636058"/>
                <a:gd name="T31" fmla="*/ 0 h 960111"/>
                <a:gd name="T32" fmla="*/ 0 w 636058"/>
                <a:gd name="T33" fmla="*/ 0 h 960111"/>
                <a:gd name="T34" fmla="*/ 0 w 636058"/>
                <a:gd name="T35" fmla="*/ 0 h 960111"/>
                <a:gd name="T36" fmla="*/ 0 w 636058"/>
                <a:gd name="T37" fmla="*/ 0 h 960111"/>
                <a:gd name="T38" fmla="*/ 0 w 636058"/>
                <a:gd name="T39" fmla="*/ 0 h 960111"/>
                <a:gd name="T40" fmla="*/ 0 w 636058"/>
                <a:gd name="T41" fmla="*/ 0 h 960111"/>
                <a:gd name="T42" fmla="*/ 0 w 636058"/>
                <a:gd name="T43" fmla="*/ 0 h 960111"/>
                <a:gd name="T44" fmla="*/ 0 w 636058"/>
                <a:gd name="T45" fmla="*/ 0 h 960111"/>
                <a:gd name="T46" fmla="*/ 0 w 636058"/>
                <a:gd name="T47" fmla="*/ 0 h 960111"/>
                <a:gd name="T48" fmla="*/ 0 w 636058"/>
                <a:gd name="T49" fmla="*/ 0 h 960111"/>
                <a:gd name="T50" fmla="*/ 0 w 636058"/>
                <a:gd name="T51" fmla="*/ 0 h 960111"/>
                <a:gd name="T52" fmla="*/ 0 w 636058"/>
                <a:gd name="T53" fmla="*/ 0 h 960111"/>
                <a:gd name="T54" fmla="*/ 0 w 636058"/>
                <a:gd name="T55" fmla="*/ 0 h 960111"/>
                <a:gd name="T56" fmla="*/ 0 w 636058"/>
                <a:gd name="T57" fmla="*/ 0 h 960111"/>
                <a:gd name="T58" fmla="*/ 0 w 636058"/>
                <a:gd name="T59" fmla="*/ 0 h 960111"/>
                <a:gd name="T60" fmla="*/ 0 w 636058"/>
                <a:gd name="T61" fmla="*/ 0 h 960111"/>
                <a:gd name="T62" fmla="*/ 0 w 636058"/>
                <a:gd name="T63" fmla="*/ 0 h 960111"/>
                <a:gd name="T64" fmla="*/ 0 w 636058"/>
                <a:gd name="T65" fmla="*/ 0 h 960111"/>
                <a:gd name="T66" fmla="*/ 0 w 636058"/>
                <a:gd name="T67" fmla="*/ 0 h 960111"/>
                <a:gd name="T68" fmla="*/ 0 w 636058"/>
                <a:gd name="T69" fmla="*/ 0 h 960111"/>
                <a:gd name="T70" fmla="*/ 0 w 636058"/>
                <a:gd name="T71" fmla="*/ 0 h 960111"/>
                <a:gd name="T72" fmla="*/ 0 w 636058"/>
                <a:gd name="T73" fmla="*/ 0 h 960111"/>
                <a:gd name="T74" fmla="*/ 0 w 636058"/>
                <a:gd name="T75" fmla="*/ 0 h 960111"/>
                <a:gd name="T76" fmla="*/ 0 w 636058"/>
                <a:gd name="T77" fmla="*/ 0 h 960111"/>
                <a:gd name="T78" fmla="*/ 0 w 636058"/>
                <a:gd name="T79" fmla="*/ 0 h 960111"/>
                <a:gd name="T80" fmla="*/ 0 w 636058"/>
                <a:gd name="T81" fmla="*/ 0 h 960111"/>
                <a:gd name="T82" fmla="*/ 0 w 636058"/>
                <a:gd name="T83" fmla="*/ 0 h 960111"/>
                <a:gd name="T84" fmla="*/ 0 w 636058"/>
                <a:gd name="T85" fmla="*/ 0 h 960111"/>
                <a:gd name="T86" fmla="*/ 0 w 636058"/>
                <a:gd name="T87" fmla="*/ 0 h 960111"/>
                <a:gd name="T88" fmla="*/ 0 w 636058"/>
                <a:gd name="T89" fmla="*/ 0 h 960111"/>
                <a:gd name="T90" fmla="*/ 0 w 636058"/>
                <a:gd name="T91" fmla="*/ 0 h 960111"/>
                <a:gd name="T92" fmla="*/ 0 w 636058"/>
                <a:gd name="T93" fmla="*/ 0 h 960111"/>
                <a:gd name="T94" fmla="*/ 0 w 636058"/>
                <a:gd name="T95" fmla="*/ 0 h 96011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36058"/>
                <a:gd name="T145" fmla="*/ 0 h 960111"/>
                <a:gd name="T146" fmla="*/ 636058 w 636058"/>
                <a:gd name="T147" fmla="*/ 960111 h 96011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36058" h="960111">
                  <a:moveTo>
                    <a:pt x="588433" y="44028"/>
                  </a:moveTo>
                  <a:cubicBezTo>
                    <a:pt x="596371" y="64666"/>
                    <a:pt x="576181" y="0"/>
                    <a:pt x="607483" y="177378"/>
                  </a:cubicBezTo>
                  <a:cubicBezTo>
                    <a:pt x="610973" y="197153"/>
                    <a:pt x="620183" y="215478"/>
                    <a:pt x="626533" y="234528"/>
                  </a:cubicBezTo>
                  <a:lnTo>
                    <a:pt x="636058" y="263103"/>
                  </a:lnTo>
                  <a:cubicBezTo>
                    <a:pt x="587888" y="295216"/>
                    <a:pt x="620962" y="264720"/>
                    <a:pt x="597958" y="310728"/>
                  </a:cubicBezTo>
                  <a:cubicBezTo>
                    <a:pt x="592838" y="320967"/>
                    <a:pt x="583557" y="328842"/>
                    <a:pt x="578908" y="339303"/>
                  </a:cubicBezTo>
                  <a:cubicBezTo>
                    <a:pt x="563818" y="373256"/>
                    <a:pt x="566676" y="399160"/>
                    <a:pt x="540808" y="425028"/>
                  </a:cubicBezTo>
                  <a:cubicBezTo>
                    <a:pt x="502036" y="463800"/>
                    <a:pt x="511672" y="425402"/>
                    <a:pt x="455083" y="463128"/>
                  </a:cubicBezTo>
                  <a:lnTo>
                    <a:pt x="426508" y="482178"/>
                  </a:lnTo>
                  <a:cubicBezTo>
                    <a:pt x="423333" y="491703"/>
                    <a:pt x="419741" y="501099"/>
                    <a:pt x="416983" y="510753"/>
                  </a:cubicBezTo>
                  <a:cubicBezTo>
                    <a:pt x="413387" y="523340"/>
                    <a:pt x="413312" y="537144"/>
                    <a:pt x="407458" y="548853"/>
                  </a:cubicBezTo>
                  <a:cubicBezTo>
                    <a:pt x="397219" y="569331"/>
                    <a:pt x="376598" y="584283"/>
                    <a:pt x="369358" y="606003"/>
                  </a:cubicBezTo>
                  <a:lnTo>
                    <a:pt x="350308" y="663153"/>
                  </a:lnTo>
                  <a:cubicBezTo>
                    <a:pt x="380085" y="782260"/>
                    <a:pt x="350308" y="634175"/>
                    <a:pt x="350308" y="729828"/>
                  </a:cubicBezTo>
                  <a:cubicBezTo>
                    <a:pt x="350308" y="752279"/>
                    <a:pt x="356658" y="774278"/>
                    <a:pt x="359833" y="796503"/>
                  </a:cubicBezTo>
                  <a:cubicBezTo>
                    <a:pt x="356658" y="818728"/>
                    <a:pt x="353093" y="840901"/>
                    <a:pt x="350308" y="863178"/>
                  </a:cubicBezTo>
                  <a:cubicBezTo>
                    <a:pt x="346742" y="891707"/>
                    <a:pt x="356731" y="924981"/>
                    <a:pt x="340783" y="948903"/>
                  </a:cubicBezTo>
                  <a:cubicBezTo>
                    <a:pt x="333311" y="960111"/>
                    <a:pt x="321733" y="929853"/>
                    <a:pt x="312208" y="920328"/>
                  </a:cubicBezTo>
                  <a:cubicBezTo>
                    <a:pt x="309033" y="910803"/>
                    <a:pt x="308955" y="899593"/>
                    <a:pt x="302683" y="891753"/>
                  </a:cubicBezTo>
                  <a:cubicBezTo>
                    <a:pt x="273654" y="855467"/>
                    <a:pt x="274562" y="877239"/>
                    <a:pt x="245533" y="891753"/>
                  </a:cubicBezTo>
                  <a:cubicBezTo>
                    <a:pt x="236553" y="896243"/>
                    <a:pt x="226483" y="898103"/>
                    <a:pt x="216958" y="901278"/>
                  </a:cubicBezTo>
                  <a:cubicBezTo>
                    <a:pt x="210608" y="910803"/>
                    <a:pt x="209286" y="928589"/>
                    <a:pt x="197908" y="929853"/>
                  </a:cubicBezTo>
                  <a:cubicBezTo>
                    <a:pt x="98933" y="940850"/>
                    <a:pt x="81280" y="932252"/>
                    <a:pt x="16933" y="910803"/>
                  </a:cubicBezTo>
                  <a:cubicBezTo>
                    <a:pt x="0" y="860003"/>
                    <a:pt x="2116" y="891753"/>
                    <a:pt x="35983" y="891753"/>
                  </a:cubicBezTo>
                  <a:cubicBezTo>
                    <a:pt x="46023" y="891753"/>
                    <a:pt x="55033" y="885403"/>
                    <a:pt x="64558" y="882228"/>
                  </a:cubicBezTo>
                  <a:cubicBezTo>
                    <a:pt x="70908" y="872703"/>
                    <a:pt x="75513" y="861748"/>
                    <a:pt x="83608" y="853653"/>
                  </a:cubicBezTo>
                  <a:cubicBezTo>
                    <a:pt x="147108" y="790153"/>
                    <a:pt x="80433" y="882228"/>
                    <a:pt x="131233" y="806028"/>
                  </a:cubicBezTo>
                  <a:cubicBezTo>
                    <a:pt x="118881" y="744266"/>
                    <a:pt x="113336" y="740707"/>
                    <a:pt x="131233" y="663153"/>
                  </a:cubicBezTo>
                  <a:cubicBezTo>
                    <a:pt x="133807" y="651999"/>
                    <a:pt x="143933" y="644103"/>
                    <a:pt x="150283" y="634578"/>
                  </a:cubicBezTo>
                  <a:cubicBezTo>
                    <a:pt x="147108" y="625053"/>
                    <a:pt x="140758" y="616043"/>
                    <a:pt x="140758" y="606003"/>
                  </a:cubicBezTo>
                  <a:cubicBezTo>
                    <a:pt x="140758" y="575331"/>
                    <a:pt x="156917" y="573006"/>
                    <a:pt x="178858" y="558378"/>
                  </a:cubicBezTo>
                  <a:cubicBezTo>
                    <a:pt x="175683" y="548853"/>
                    <a:pt x="165604" y="539125"/>
                    <a:pt x="169333" y="529803"/>
                  </a:cubicBezTo>
                  <a:cubicBezTo>
                    <a:pt x="179103" y="505378"/>
                    <a:pt x="245451" y="503630"/>
                    <a:pt x="255058" y="501228"/>
                  </a:cubicBezTo>
                  <a:cubicBezTo>
                    <a:pt x="309466" y="487626"/>
                    <a:pt x="303254" y="488147"/>
                    <a:pt x="340783" y="463128"/>
                  </a:cubicBezTo>
                  <a:cubicBezTo>
                    <a:pt x="337608" y="447253"/>
                    <a:pt x="333920" y="431472"/>
                    <a:pt x="331258" y="415503"/>
                  </a:cubicBezTo>
                  <a:cubicBezTo>
                    <a:pt x="327567" y="393358"/>
                    <a:pt x="330851" y="369344"/>
                    <a:pt x="321733" y="348828"/>
                  </a:cubicBezTo>
                  <a:cubicBezTo>
                    <a:pt x="315311" y="334378"/>
                    <a:pt x="277262" y="324479"/>
                    <a:pt x="264583" y="320253"/>
                  </a:cubicBezTo>
                  <a:cubicBezTo>
                    <a:pt x="258233" y="310728"/>
                    <a:pt x="247415" y="302970"/>
                    <a:pt x="245533" y="291678"/>
                  </a:cubicBezTo>
                  <a:cubicBezTo>
                    <a:pt x="240932" y="264073"/>
                    <a:pt x="266937" y="255183"/>
                    <a:pt x="283633" y="244053"/>
                  </a:cubicBezTo>
                  <a:cubicBezTo>
                    <a:pt x="351675" y="289415"/>
                    <a:pt x="318571" y="276600"/>
                    <a:pt x="378883" y="291678"/>
                  </a:cubicBezTo>
                  <a:cubicBezTo>
                    <a:pt x="388408" y="288503"/>
                    <a:pt x="398478" y="286643"/>
                    <a:pt x="407458" y="282153"/>
                  </a:cubicBezTo>
                  <a:cubicBezTo>
                    <a:pt x="417697" y="277033"/>
                    <a:pt x="425572" y="267752"/>
                    <a:pt x="436033" y="263103"/>
                  </a:cubicBezTo>
                  <a:cubicBezTo>
                    <a:pt x="454383" y="254948"/>
                    <a:pt x="474133" y="250403"/>
                    <a:pt x="493183" y="244053"/>
                  </a:cubicBezTo>
                  <a:lnTo>
                    <a:pt x="521758" y="234528"/>
                  </a:lnTo>
                  <a:cubicBezTo>
                    <a:pt x="529274" y="211979"/>
                    <a:pt x="540808" y="181316"/>
                    <a:pt x="540808" y="158328"/>
                  </a:cubicBezTo>
                  <a:cubicBezTo>
                    <a:pt x="540808" y="142139"/>
                    <a:pt x="534458" y="126578"/>
                    <a:pt x="531283" y="110703"/>
                  </a:cubicBezTo>
                  <a:cubicBezTo>
                    <a:pt x="537558" y="91879"/>
                    <a:pt x="543072" y="66982"/>
                    <a:pt x="559858" y="53553"/>
                  </a:cubicBezTo>
                  <a:cubicBezTo>
                    <a:pt x="591445" y="28283"/>
                    <a:pt x="580496" y="23391"/>
                    <a:pt x="588433" y="44028"/>
                  </a:cubicBezTo>
                  <a:close/>
                </a:path>
              </a:pathLst>
            </a:custGeom>
            <a:grpFill/>
            <a:ln w="12700" algn="ctr">
              <a:solidFill>
                <a:schemeClr val="bg1"/>
              </a:solidFill>
              <a:round/>
              <a:headEnd type="none" w="sm" len="sm"/>
              <a:tailEnd type="none" w="sm" len="sm"/>
            </a:ln>
          </p:spPr>
          <p:txBody>
            <a:bodyPr/>
            <a:lstStyle/>
            <a:p>
              <a:pPr>
                <a:defRPr/>
              </a:pPr>
              <a:endParaRPr lang="en-GB" dirty="0">
                <a:solidFill>
                  <a:srgbClr val="626469"/>
                </a:solidFill>
              </a:endParaRPr>
            </a:p>
          </p:txBody>
        </p:sp>
        <p:sp>
          <p:nvSpPr>
            <p:cNvPr id="48" name="Freeform 215"/>
            <p:cNvSpPr>
              <a:spLocks noChangeArrowheads="1"/>
            </p:cNvSpPr>
            <p:nvPr/>
          </p:nvSpPr>
          <p:spPr bwMode="auto">
            <a:xfrm>
              <a:off x="1523999" y="6648450"/>
              <a:ext cx="993774" cy="517524"/>
            </a:xfrm>
            <a:custGeom>
              <a:avLst/>
              <a:gdLst>
                <a:gd name="T0" fmla="*/ 3717505 w 471275"/>
                <a:gd name="T1" fmla="*/ 504965 h 258328"/>
                <a:gd name="T2" fmla="*/ 3717505 w 471275"/>
                <a:gd name="T3" fmla="*/ 324054 h 258328"/>
                <a:gd name="T4" fmla="*/ 3608443 w 471275"/>
                <a:gd name="T5" fmla="*/ 263750 h 258328"/>
                <a:gd name="T6" fmla="*/ 3499365 w 471275"/>
                <a:gd name="T7" fmla="*/ 163246 h 258328"/>
                <a:gd name="T8" fmla="*/ 3172193 w 471275"/>
                <a:gd name="T9" fmla="*/ 123038 h 258328"/>
                <a:gd name="T10" fmla="*/ 3063140 w 471275"/>
                <a:gd name="T11" fmla="*/ 263750 h 258328"/>
                <a:gd name="T12" fmla="*/ 2954057 w 471275"/>
                <a:gd name="T13" fmla="*/ 344155 h 258328"/>
                <a:gd name="T14" fmla="*/ 2626879 w 471275"/>
                <a:gd name="T15" fmla="*/ 384363 h 258328"/>
                <a:gd name="T16" fmla="*/ 1972507 w 471275"/>
                <a:gd name="T17" fmla="*/ 424560 h 258328"/>
                <a:gd name="T18" fmla="*/ 1427205 w 471275"/>
                <a:gd name="T19" fmla="*/ 404460 h 258328"/>
                <a:gd name="T20" fmla="*/ 772834 w 471275"/>
                <a:gd name="T21" fmla="*/ 324054 h 258328"/>
                <a:gd name="T22" fmla="*/ 554725 w 471275"/>
                <a:gd name="T23" fmla="*/ 263750 h 258328"/>
                <a:gd name="T24" fmla="*/ 445641 w 471275"/>
                <a:gd name="T25" fmla="*/ 143142 h 258328"/>
                <a:gd name="T26" fmla="*/ 772834 w 471275"/>
                <a:gd name="T27" fmla="*/ 123038 h 258328"/>
                <a:gd name="T28" fmla="*/ 1754379 w 471275"/>
                <a:gd name="T29" fmla="*/ 22534 h 258328"/>
                <a:gd name="T30" fmla="*/ 2408760 w 471275"/>
                <a:gd name="T31" fmla="*/ 22534 h 258328"/>
                <a:gd name="T32" fmla="*/ 4262816 w 471275"/>
                <a:gd name="T33" fmla="*/ 2434 h 258328"/>
                <a:gd name="T34" fmla="*/ 5244373 w 471275"/>
                <a:gd name="T35" fmla="*/ 22534 h 258328"/>
                <a:gd name="T36" fmla="*/ 5353427 w 471275"/>
                <a:gd name="T37" fmla="*/ 82839 h 258328"/>
                <a:gd name="T38" fmla="*/ 5026250 w 471275"/>
                <a:gd name="T39" fmla="*/ 123038 h 258328"/>
                <a:gd name="T40" fmla="*/ 4917193 w 471275"/>
                <a:gd name="T41" fmla="*/ 303954 h 258328"/>
                <a:gd name="T42" fmla="*/ 4480938 w 471275"/>
                <a:gd name="T43" fmla="*/ 484871 h 258328"/>
                <a:gd name="T44" fmla="*/ 4153763 w 471275"/>
                <a:gd name="T45" fmla="*/ 525069 h 258328"/>
                <a:gd name="T46" fmla="*/ 3826566 w 471275"/>
                <a:gd name="T47" fmla="*/ 545168 h 258328"/>
                <a:gd name="T48" fmla="*/ 3717505 w 471275"/>
                <a:gd name="T49" fmla="*/ 504965 h 2583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1275"/>
                <a:gd name="T76" fmla="*/ 0 h 258328"/>
                <a:gd name="T77" fmla="*/ 471275 w 471275"/>
                <a:gd name="T78" fmla="*/ 258328 h 2583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1275" h="258328">
                  <a:moveTo>
                    <a:pt x="324671" y="239278"/>
                  </a:moveTo>
                  <a:cubicBezTo>
                    <a:pt x="303229" y="174952"/>
                    <a:pt x="324671" y="254133"/>
                    <a:pt x="324671" y="153553"/>
                  </a:cubicBezTo>
                  <a:cubicBezTo>
                    <a:pt x="324671" y="143513"/>
                    <a:pt x="317581" y="134718"/>
                    <a:pt x="315146" y="124978"/>
                  </a:cubicBezTo>
                  <a:cubicBezTo>
                    <a:pt x="311219" y="109272"/>
                    <a:pt x="313653" y="91409"/>
                    <a:pt x="305621" y="77353"/>
                  </a:cubicBezTo>
                  <a:cubicBezTo>
                    <a:pt x="299941" y="67414"/>
                    <a:pt x="286571" y="64653"/>
                    <a:pt x="277046" y="58303"/>
                  </a:cubicBezTo>
                  <a:cubicBezTo>
                    <a:pt x="273871" y="80528"/>
                    <a:pt x="271537" y="102889"/>
                    <a:pt x="267521" y="124978"/>
                  </a:cubicBezTo>
                  <a:cubicBezTo>
                    <a:pt x="265179" y="137858"/>
                    <a:pt x="265258" y="152186"/>
                    <a:pt x="257996" y="163078"/>
                  </a:cubicBezTo>
                  <a:cubicBezTo>
                    <a:pt x="251646" y="172603"/>
                    <a:pt x="239882" y="177479"/>
                    <a:pt x="229421" y="182128"/>
                  </a:cubicBezTo>
                  <a:cubicBezTo>
                    <a:pt x="211071" y="190283"/>
                    <a:pt x="172271" y="201178"/>
                    <a:pt x="172271" y="201178"/>
                  </a:cubicBezTo>
                  <a:cubicBezTo>
                    <a:pt x="156396" y="198003"/>
                    <a:pt x="139384" y="198352"/>
                    <a:pt x="124646" y="191653"/>
                  </a:cubicBezTo>
                  <a:cubicBezTo>
                    <a:pt x="103803" y="182179"/>
                    <a:pt x="67496" y="153553"/>
                    <a:pt x="67496" y="153553"/>
                  </a:cubicBezTo>
                  <a:cubicBezTo>
                    <a:pt x="61146" y="144028"/>
                    <a:pt x="55775" y="133772"/>
                    <a:pt x="48446" y="124978"/>
                  </a:cubicBezTo>
                  <a:cubicBezTo>
                    <a:pt x="26366" y="98482"/>
                    <a:pt x="0" y="98965"/>
                    <a:pt x="38921" y="67828"/>
                  </a:cubicBezTo>
                  <a:cubicBezTo>
                    <a:pt x="46761" y="61556"/>
                    <a:pt x="57971" y="61478"/>
                    <a:pt x="67496" y="58303"/>
                  </a:cubicBezTo>
                  <a:cubicBezTo>
                    <a:pt x="133000" y="14634"/>
                    <a:pt x="102926" y="27443"/>
                    <a:pt x="153221" y="10678"/>
                  </a:cubicBezTo>
                  <a:cubicBezTo>
                    <a:pt x="211836" y="30216"/>
                    <a:pt x="151756" y="16540"/>
                    <a:pt x="210371" y="10678"/>
                  </a:cubicBezTo>
                  <a:cubicBezTo>
                    <a:pt x="264171" y="5298"/>
                    <a:pt x="318321" y="4328"/>
                    <a:pt x="372296" y="1153"/>
                  </a:cubicBezTo>
                  <a:cubicBezTo>
                    <a:pt x="400871" y="4328"/>
                    <a:pt x="431327" y="0"/>
                    <a:pt x="458021" y="10678"/>
                  </a:cubicBezTo>
                  <a:cubicBezTo>
                    <a:pt x="467343" y="14407"/>
                    <a:pt x="471275" y="29931"/>
                    <a:pt x="467546" y="39253"/>
                  </a:cubicBezTo>
                  <a:cubicBezTo>
                    <a:pt x="463294" y="49882"/>
                    <a:pt x="448496" y="51953"/>
                    <a:pt x="438971" y="58303"/>
                  </a:cubicBezTo>
                  <a:cubicBezTo>
                    <a:pt x="416746" y="124978"/>
                    <a:pt x="413571" y="96403"/>
                    <a:pt x="429446" y="144028"/>
                  </a:cubicBezTo>
                  <a:cubicBezTo>
                    <a:pt x="420015" y="172322"/>
                    <a:pt x="413987" y="207112"/>
                    <a:pt x="391346" y="229753"/>
                  </a:cubicBezTo>
                  <a:cubicBezTo>
                    <a:pt x="383251" y="237848"/>
                    <a:pt x="373010" y="243683"/>
                    <a:pt x="362771" y="248803"/>
                  </a:cubicBezTo>
                  <a:cubicBezTo>
                    <a:pt x="353791" y="253293"/>
                    <a:pt x="343721" y="255153"/>
                    <a:pt x="334196" y="258328"/>
                  </a:cubicBezTo>
                  <a:lnTo>
                    <a:pt x="324671" y="239278"/>
                  </a:lnTo>
                  <a:close/>
                </a:path>
              </a:pathLst>
            </a:custGeom>
            <a:grpFill/>
            <a:ln w="12700" algn="ctr">
              <a:noFill/>
              <a:round/>
              <a:headEnd type="none" w="sm" len="sm"/>
              <a:tailEnd type="none" w="sm" len="sm"/>
            </a:ln>
          </p:spPr>
          <p:txBody>
            <a:bodyPr/>
            <a:lstStyle/>
            <a:p>
              <a:pPr>
                <a:defRPr/>
              </a:pPr>
              <a:endParaRPr lang="en-GB" dirty="0">
                <a:solidFill>
                  <a:srgbClr val="626469"/>
                </a:solidFill>
              </a:endParaRPr>
            </a:p>
          </p:txBody>
        </p:sp>
        <p:sp>
          <p:nvSpPr>
            <p:cNvPr id="49" name="Freeform 175"/>
            <p:cNvSpPr>
              <a:spLocks noChangeArrowheads="1"/>
            </p:cNvSpPr>
            <p:nvPr/>
          </p:nvSpPr>
          <p:spPr bwMode="auto">
            <a:xfrm>
              <a:off x="2922787" y="7261467"/>
              <a:ext cx="1221701" cy="1909390"/>
            </a:xfrm>
            <a:custGeom>
              <a:avLst/>
              <a:gdLst>
                <a:gd name="T0" fmla="*/ 0 w 1221701"/>
                <a:gd name="T1" fmla="*/ 0 h 1909390"/>
                <a:gd name="T2" fmla="*/ 1221701 w 1221701"/>
                <a:gd name="T3" fmla="*/ 1909390 h 1909390"/>
              </a:gdLst>
              <a:ahLst/>
              <a:cxnLst/>
              <a:rect l="T0" t="T1" r="T2" b="T3"/>
              <a:pathLst>
                <a:path w="1221701" h="1909390">
                  <a:moveTo>
                    <a:pt x="57919" y="1906284"/>
                  </a:moveTo>
                  <a:cubicBezTo>
                    <a:pt x="75732" y="1904305"/>
                    <a:pt x="106152" y="1893677"/>
                    <a:pt x="129171" y="1870658"/>
                  </a:cubicBezTo>
                  <a:cubicBezTo>
                    <a:pt x="139263" y="1860566"/>
                    <a:pt x="145005" y="1846907"/>
                    <a:pt x="152922" y="1835032"/>
                  </a:cubicBezTo>
                  <a:cubicBezTo>
                    <a:pt x="160839" y="1811281"/>
                    <a:pt x="155842" y="1777667"/>
                    <a:pt x="176673" y="1763780"/>
                  </a:cubicBezTo>
                  <a:cubicBezTo>
                    <a:pt x="188548" y="1755863"/>
                    <a:pt x="199533" y="1746412"/>
                    <a:pt x="212299" y="1740029"/>
                  </a:cubicBezTo>
                  <a:cubicBezTo>
                    <a:pt x="229331" y="1731513"/>
                    <a:pt x="280212" y="1720082"/>
                    <a:pt x="295426" y="1716278"/>
                  </a:cubicBezTo>
                  <a:cubicBezTo>
                    <a:pt x="299384" y="1704403"/>
                    <a:pt x="307301" y="1693170"/>
                    <a:pt x="307301" y="1680652"/>
                  </a:cubicBezTo>
                  <a:cubicBezTo>
                    <a:pt x="307301" y="1648985"/>
                    <a:pt x="275634" y="1641068"/>
                    <a:pt x="307301" y="1609401"/>
                  </a:cubicBezTo>
                  <a:cubicBezTo>
                    <a:pt x="327485" y="1589217"/>
                    <a:pt x="351473" y="1570925"/>
                    <a:pt x="378553" y="1561899"/>
                  </a:cubicBezTo>
                  <a:lnTo>
                    <a:pt x="449805" y="1538149"/>
                  </a:lnTo>
                  <a:cubicBezTo>
                    <a:pt x="445847" y="1494606"/>
                    <a:pt x="444113" y="1450803"/>
                    <a:pt x="437930" y="1407520"/>
                  </a:cubicBezTo>
                  <a:cubicBezTo>
                    <a:pt x="436160" y="1395128"/>
                    <a:pt x="426055" y="1384412"/>
                    <a:pt x="426055" y="1371894"/>
                  </a:cubicBezTo>
                  <a:cubicBezTo>
                    <a:pt x="426055" y="1339980"/>
                    <a:pt x="433077" y="1308434"/>
                    <a:pt x="437930" y="1276891"/>
                  </a:cubicBezTo>
                  <a:cubicBezTo>
                    <a:pt x="440999" y="1256942"/>
                    <a:pt x="441453" y="1235890"/>
                    <a:pt x="449805" y="1217515"/>
                  </a:cubicBezTo>
                  <a:cubicBezTo>
                    <a:pt x="461617" y="1191529"/>
                    <a:pt x="497307" y="1146263"/>
                    <a:pt x="497307" y="1146263"/>
                  </a:cubicBezTo>
                  <a:cubicBezTo>
                    <a:pt x="501265" y="1134388"/>
                    <a:pt x="503584" y="1121833"/>
                    <a:pt x="509182" y="1110637"/>
                  </a:cubicBezTo>
                  <a:cubicBezTo>
                    <a:pt x="515565" y="1097871"/>
                    <a:pt x="531837" y="1089241"/>
                    <a:pt x="532932" y="1075011"/>
                  </a:cubicBezTo>
                  <a:cubicBezTo>
                    <a:pt x="534748" y="1051401"/>
                    <a:pt x="528937" y="960142"/>
                    <a:pt x="509182" y="920632"/>
                  </a:cubicBezTo>
                  <a:cubicBezTo>
                    <a:pt x="502799" y="907866"/>
                    <a:pt x="493348" y="896881"/>
                    <a:pt x="485431" y="885006"/>
                  </a:cubicBezTo>
                  <a:cubicBezTo>
                    <a:pt x="489390" y="861255"/>
                    <a:pt x="492084" y="837259"/>
                    <a:pt x="497307" y="813754"/>
                  </a:cubicBezTo>
                  <a:cubicBezTo>
                    <a:pt x="500022" y="801534"/>
                    <a:pt x="511240" y="790475"/>
                    <a:pt x="509182" y="778128"/>
                  </a:cubicBezTo>
                  <a:cubicBezTo>
                    <a:pt x="506835" y="764050"/>
                    <a:pt x="493348" y="754377"/>
                    <a:pt x="485431" y="742502"/>
                  </a:cubicBezTo>
                  <a:cubicBezTo>
                    <a:pt x="489671" y="725545"/>
                    <a:pt x="513174" y="626377"/>
                    <a:pt x="521057" y="623749"/>
                  </a:cubicBezTo>
                  <a:lnTo>
                    <a:pt x="556683" y="611873"/>
                  </a:lnTo>
                  <a:cubicBezTo>
                    <a:pt x="619785" y="653942"/>
                    <a:pt x="572832" y="639188"/>
                    <a:pt x="604184" y="599998"/>
                  </a:cubicBezTo>
                  <a:cubicBezTo>
                    <a:pt x="613100" y="588853"/>
                    <a:pt x="627935" y="584164"/>
                    <a:pt x="639810" y="576247"/>
                  </a:cubicBezTo>
                  <a:cubicBezTo>
                    <a:pt x="672962" y="476796"/>
                    <a:pt x="613201" y="619807"/>
                    <a:pt x="782314" y="528746"/>
                  </a:cubicBezTo>
                  <a:cubicBezTo>
                    <a:pt x="804357" y="516877"/>
                    <a:pt x="782314" y="465411"/>
                    <a:pt x="806065" y="457494"/>
                  </a:cubicBezTo>
                  <a:lnTo>
                    <a:pt x="877317" y="433743"/>
                  </a:lnTo>
                  <a:cubicBezTo>
                    <a:pt x="885234" y="421868"/>
                    <a:pt x="894685" y="410883"/>
                    <a:pt x="901068" y="398117"/>
                  </a:cubicBezTo>
                  <a:cubicBezTo>
                    <a:pt x="906666" y="386921"/>
                    <a:pt x="905123" y="372266"/>
                    <a:pt x="912943" y="362491"/>
                  </a:cubicBezTo>
                  <a:cubicBezTo>
                    <a:pt x="929684" y="341565"/>
                    <a:pt x="960728" y="334688"/>
                    <a:pt x="984195" y="326865"/>
                  </a:cubicBezTo>
                  <a:cubicBezTo>
                    <a:pt x="1023778" y="267489"/>
                    <a:pt x="996070" y="299155"/>
                    <a:pt x="1079197" y="243738"/>
                  </a:cubicBezTo>
                  <a:lnTo>
                    <a:pt x="1114823" y="219988"/>
                  </a:lnTo>
                  <a:cubicBezTo>
                    <a:pt x="1130657" y="196237"/>
                    <a:pt x="1153299" y="175816"/>
                    <a:pt x="1162325" y="148736"/>
                  </a:cubicBezTo>
                  <a:cubicBezTo>
                    <a:pt x="1166283" y="136861"/>
                    <a:pt x="1168121" y="124052"/>
                    <a:pt x="1174200" y="113110"/>
                  </a:cubicBezTo>
                  <a:cubicBezTo>
                    <a:pt x="1188062" y="88157"/>
                    <a:pt x="1221701" y="41858"/>
                    <a:pt x="1221701" y="41858"/>
                  </a:cubicBezTo>
                  <a:cubicBezTo>
                    <a:pt x="1096130" y="0"/>
                    <a:pt x="1187583" y="5025"/>
                    <a:pt x="1126699" y="53733"/>
                  </a:cubicBezTo>
                  <a:cubicBezTo>
                    <a:pt x="1116924" y="61553"/>
                    <a:pt x="1102948" y="61650"/>
                    <a:pt x="1091073" y="65608"/>
                  </a:cubicBezTo>
                  <a:cubicBezTo>
                    <a:pt x="1079198" y="57691"/>
                    <a:pt x="1069576" y="43876"/>
                    <a:pt x="1055447" y="41858"/>
                  </a:cubicBezTo>
                  <a:cubicBezTo>
                    <a:pt x="991808" y="32767"/>
                    <a:pt x="1019002" y="61513"/>
                    <a:pt x="984195" y="89359"/>
                  </a:cubicBezTo>
                  <a:cubicBezTo>
                    <a:pt x="974420" y="97179"/>
                    <a:pt x="960444" y="97276"/>
                    <a:pt x="948569" y="101234"/>
                  </a:cubicBezTo>
                  <a:cubicBezTo>
                    <a:pt x="940652" y="113109"/>
                    <a:pt x="936921" y="129296"/>
                    <a:pt x="924818" y="136860"/>
                  </a:cubicBezTo>
                  <a:cubicBezTo>
                    <a:pt x="903588" y="150129"/>
                    <a:pt x="853566" y="160611"/>
                    <a:pt x="853566" y="160611"/>
                  </a:cubicBezTo>
                  <a:cubicBezTo>
                    <a:pt x="845649" y="172486"/>
                    <a:pt x="841919" y="188673"/>
                    <a:pt x="829816" y="196237"/>
                  </a:cubicBezTo>
                  <a:cubicBezTo>
                    <a:pt x="808586" y="209506"/>
                    <a:pt x="779395" y="206101"/>
                    <a:pt x="758564" y="219988"/>
                  </a:cubicBezTo>
                  <a:lnTo>
                    <a:pt x="722938" y="243738"/>
                  </a:lnTo>
                  <a:cubicBezTo>
                    <a:pt x="715021" y="255613"/>
                    <a:pt x="703700" y="265824"/>
                    <a:pt x="699187" y="279364"/>
                  </a:cubicBezTo>
                  <a:cubicBezTo>
                    <a:pt x="691573" y="302207"/>
                    <a:pt x="692535" y="327111"/>
                    <a:pt x="687312" y="350616"/>
                  </a:cubicBezTo>
                  <a:cubicBezTo>
                    <a:pt x="684596" y="362836"/>
                    <a:pt x="684287" y="377391"/>
                    <a:pt x="675436" y="386242"/>
                  </a:cubicBezTo>
                  <a:cubicBezTo>
                    <a:pt x="666585" y="395093"/>
                    <a:pt x="651685" y="394159"/>
                    <a:pt x="639810" y="398117"/>
                  </a:cubicBezTo>
                  <a:cubicBezTo>
                    <a:pt x="627935" y="406034"/>
                    <a:pt x="613100" y="410723"/>
                    <a:pt x="604184" y="421868"/>
                  </a:cubicBezTo>
                  <a:cubicBezTo>
                    <a:pt x="558123" y="479445"/>
                    <a:pt x="634412" y="443460"/>
                    <a:pt x="556683" y="469369"/>
                  </a:cubicBezTo>
                  <a:cubicBezTo>
                    <a:pt x="544808" y="477286"/>
                    <a:pt x="533823" y="486737"/>
                    <a:pt x="521057" y="493120"/>
                  </a:cubicBezTo>
                  <a:cubicBezTo>
                    <a:pt x="509861" y="498718"/>
                    <a:pt x="494282" y="496144"/>
                    <a:pt x="485431" y="504995"/>
                  </a:cubicBezTo>
                  <a:cubicBezTo>
                    <a:pt x="476580" y="513846"/>
                    <a:pt x="479154" y="529425"/>
                    <a:pt x="473556" y="540621"/>
                  </a:cubicBezTo>
                  <a:cubicBezTo>
                    <a:pt x="467173" y="553387"/>
                    <a:pt x="457722" y="564372"/>
                    <a:pt x="449805" y="576247"/>
                  </a:cubicBezTo>
                  <a:cubicBezTo>
                    <a:pt x="410984" y="692713"/>
                    <a:pt x="473923" y="528195"/>
                    <a:pt x="402304" y="635624"/>
                  </a:cubicBezTo>
                  <a:cubicBezTo>
                    <a:pt x="393251" y="649204"/>
                    <a:pt x="394387" y="667291"/>
                    <a:pt x="390429" y="683125"/>
                  </a:cubicBezTo>
                  <a:cubicBezTo>
                    <a:pt x="382738" y="852327"/>
                    <a:pt x="365677" y="903251"/>
                    <a:pt x="390429" y="1039385"/>
                  </a:cubicBezTo>
                  <a:cubicBezTo>
                    <a:pt x="392668" y="1051701"/>
                    <a:pt x="398346" y="1063136"/>
                    <a:pt x="402304" y="1075011"/>
                  </a:cubicBezTo>
                  <a:cubicBezTo>
                    <a:pt x="385519" y="1158940"/>
                    <a:pt x="396813" y="1115235"/>
                    <a:pt x="366678" y="1205639"/>
                  </a:cubicBezTo>
                  <a:cubicBezTo>
                    <a:pt x="366676" y="1205644"/>
                    <a:pt x="342930" y="1276887"/>
                    <a:pt x="342927" y="1276891"/>
                  </a:cubicBezTo>
                  <a:cubicBezTo>
                    <a:pt x="335010" y="1288766"/>
                    <a:pt x="324973" y="1299475"/>
                    <a:pt x="319177" y="1312517"/>
                  </a:cubicBezTo>
                  <a:cubicBezTo>
                    <a:pt x="309009" y="1335395"/>
                    <a:pt x="303343" y="1360018"/>
                    <a:pt x="295426" y="1383769"/>
                  </a:cubicBezTo>
                  <a:cubicBezTo>
                    <a:pt x="291468" y="1395644"/>
                    <a:pt x="293966" y="1412451"/>
                    <a:pt x="283551" y="1419395"/>
                  </a:cubicBezTo>
                  <a:lnTo>
                    <a:pt x="247925" y="1443146"/>
                  </a:lnTo>
                  <a:cubicBezTo>
                    <a:pt x="243966" y="1455021"/>
                    <a:pt x="242128" y="1467830"/>
                    <a:pt x="236049" y="1478772"/>
                  </a:cubicBezTo>
                  <a:cubicBezTo>
                    <a:pt x="222186" y="1503725"/>
                    <a:pt x="188548" y="1550024"/>
                    <a:pt x="188548" y="1550024"/>
                  </a:cubicBezTo>
                  <a:cubicBezTo>
                    <a:pt x="180631" y="1573775"/>
                    <a:pt x="185628" y="1607389"/>
                    <a:pt x="164797" y="1621276"/>
                  </a:cubicBezTo>
                  <a:lnTo>
                    <a:pt x="93545" y="1668777"/>
                  </a:lnTo>
                  <a:cubicBezTo>
                    <a:pt x="63697" y="1758324"/>
                    <a:pt x="103960" y="1647946"/>
                    <a:pt x="57919" y="1740029"/>
                  </a:cubicBezTo>
                  <a:cubicBezTo>
                    <a:pt x="52321" y="1751225"/>
                    <a:pt x="51642" y="1764459"/>
                    <a:pt x="46044" y="1775655"/>
                  </a:cubicBezTo>
                  <a:cubicBezTo>
                    <a:pt x="0" y="1867746"/>
                    <a:pt x="40271" y="1757353"/>
                    <a:pt x="10418" y="1846907"/>
                  </a:cubicBezTo>
                  <a:cubicBezTo>
                    <a:pt x="14377" y="1858782"/>
                    <a:pt x="16696" y="1871337"/>
                    <a:pt x="22294" y="1882533"/>
                  </a:cubicBezTo>
                  <a:cubicBezTo>
                    <a:pt x="35723" y="1909390"/>
                    <a:pt x="40106" y="1908263"/>
                    <a:pt x="57919" y="1906284"/>
                  </a:cubicBezTo>
                  <a:close/>
                </a:path>
              </a:pathLst>
            </a:custGeom>
            <a:grpFill/>
            <a:ln w="12700" algn="ctr">
              <a:solidFill>
                <a:schemeClr val="bg1"/>
              </a:solidFill>
              <a:round/>
              <a:headEnd type="none" w="sm" len="sm"/>
              <a:tailEnd type="none" w="sm" len="sm"/>
            </a:ln>
          </p:spPr>
          <p:txBody>
            <a:bodyPr/>
            <a:lstStyle/>
            <a:p>
              <a:pPr eaLnBrk="0" hangingPunct="0">
                <a:defRPr/>
              </a:pPr>
              <a:endParaRPr lang="en-GB" dirty="0">
                <a:solidFill>
                  <a:srgbClr val="626469"/>
                </a:solidFill>
              </a:endParaRPr>
            </a:p>
          </p:txBody>
        </p:sp>
      </p:grpSp>
    </p:spTree>
    <p:extLst>
      <p:ext uri="{BB962C8B-B14F-4D97-AF65-F5344CB8AC3E}">
        <p14:creationId xmlns:p14="http://schemas.microsoft.com/office/powerpoint/2010/main" val="147912074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73063" y="88900"/>
            <a:ext cx="8453437" cy="812800"/>
          </a:xfrm>
        </p:spPr>
        <p:txBody>
          <a:bodyPr/>
          <a:lstStyle/>
          <a:p>
            <a:pPr lvl="0"/>
            <a:r>
              <a:rPr lang="en-US" dirty="0">
                <a:solidFill>
                  <a:srgbClr val="5F7800"/>
                </a:solidFill>
              </a:rPr>
              <a:t>We are spread across </a:t>
            </a:r>
            <a:r>
              <a:rPr lang="en-US" dirty="0" smtClean="0">
                <a:solidFill>
                  <a:srgbClr val="5F7800"/>
                </a:solidFill>
              </a:rPr>
              <a:t>India</a:t>
            </a:r>
            <a:endParaRPr lang="en-US" dirty="0">
              <a:solidFill>
                <a:srgbClr val="5F7800"/>
              </a:solidFill>
            </a:endParaRPr>
          </a:p>
        </p:txBody>
      </p:sp>
      <p:pic>
        <p:nvPicPr>
          <p:cNvPr id="2" name="Picture 2" descr="C:\Users\Sandy\Desktop\R&amp;D_India_Map.png"/>
          <p:cNvPicPr>
            <a:picLocks noChangeAspect="1" noChangeArrowheads="1"/>
          </p:cNvPicPr>
          <p:nvPr/>
        </p:nvPicPr>
        <p:blipFill>
          <a:blip r:embed="rId2" cstate="print"/>
          <a:srcRect/>
          <a:stretch>
            <a:fillRect/>
          </a:stretch>
        </p:blipFill>
        <p:spPr bwMode="auto">
          <a:xfrm>
            <a:off x="3152775" y="986012"/>
            <a:ext cx="4157342" cy="4608872"/>
          </a:xfrm>
          <a:prstGeom prst="rect">
            <a:avLst/>
          </a:prstGeom>
          <a:noFill/>
        </p:spPr>
      </p:pic>
      <p:sp>
        <p:nvSpPr>
          <p:cNvPr id="28" name="Oval 27"/>
          <p:cNvSpPr/>
          <p:nvPr/>
        </p:nvSpPr>
        <p:spPr bwMode="auto">
          <a:xfrm>
            <a:off x="4181475" y="2165884"/>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cxnSp>
        <p:nvCxnSpPr>
          <p:cNvPr id="52" name="Straight Connector 51"/>
          <p:cNvCxnSpPr/>
          <p:nvPr/>
        </p:nvCxnSpPr>
        <p:spPr bwMode="auto">
          <a:xfrm>
            <a:off x="1381125" y="2223035"/>
            <a:ext cx="2800349"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sp>
        <p:nvSpPr>
          <p:cNvPr id="54" name="Oval 53"/>
          <p:cNvSpPr/>
          <p:nvPr/>
        </p:nvSpPr>
        <p:spPr bwMode="auto">
          <a:xfrm>
            <a:off x="4352925" y="2061109"/>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grpSp>
        <p:nvGrpSpPr>
          <p:cNvPr id="55" name="Group 54"/>
          <p:cNvGrpSpPr/>
          <p:nvPr/>
        </p:nvGrpSpPr>
        <p:grpSpPr>
          <a:xfrm flipH="1">
            <a:off x="4400545" y="787400"/>
            <a:ext cx="1971673" cy="1283234"/>
            <a:chOff x="2828925" y="140964"/>
            <a:chExt cx="1219200" cy="2316487"/>
          </a:xfrm>
        </p:grpSpPr>
        <p:cxnSp>
          <p:nvCxnSpPr>
            <p:cNvPr id="56" name="Straight Connector 55"/>
            <p:cNvCxnSpPr/>
            <p:nvPr/>
          </p:nvCxnSpPr>
          <p:spPr bwMode="auto">
            <a:xfrm flipH="1" flipV="1">
              <a:off x="4048125" y="140964"/>
              <a:ext cx="0" cy="2316487"/>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cxnSp>
          <p:nvCxnSpPr>
            <p:cNvPr id="57" name="Straight Connector 56"/>
            <p:cNvCxnSpPr/>
            <p:nvPr/>
          </p:nvCxnSpPr>
          <p:spPr bwMode="auto">
            <a:xfrm>
              <a:off x="2828925" y="147658"/>
              <a:ext cx="1219200"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grpSp>
      <p:sp>
        <p:nvSpPr>
          <p:cNvPr id="63" name="Oval 62"/>
          <p:cNvSpPr/>
          <p:nvPr/>
        </p:nvSpPr>
        <p:spPr bwMode="auto">
          <a:xfrm>
            <a:off x="4562475" y="3232684"/>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sp>
        <p:nvSpPr>
          <p:cNvPr id="73" name="Oval 72"/>
          <p:cNvSpPr/>
          <p:nvPr/>
        </p:nvSpPr>
        <p:spPr bwMode="auto">
          <a:xfrm>
            <a:off x="4495800" y="4975759"/>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cxnSp>
        <p:nvCxnSpPr>
          <p:cNvPr id="64" name="Straight Connector 63"/>
          <p:cNvCxnSpPr/>
          <p:nvPr/>
        </p:nvCxnSpPr>
        <p:spPr bwMode="auto">
          <a:xfrm>
            <a:off x="4649892" y="3289835"/>
            <a:ext cx="2589108"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cxnSp>
        <p:nvCxnSpPr>
          <p:cNvPr id="67" name="Straight Connector 66"/>
          <p:cNvCxnSpPr/>
          <p:nvPr/>
        </p:nvCxnSpPr>
        <p:spPr bwMode="auto">
          <a:xfrm>
            <a:off x="4649892" y="3918485"/>
            <a:ext cx="3640668"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cxnSp>
        <p:nvCxnSpPr>
          <p:cNvPr id="69" name="Straight Connector 68"/>
          <p:cNvCxnSpPr/>
          <p:nvPr/>
        </p:nvCxnSpPr>
        <p:spPr bwMode="auto">
          <a:xfrm>
            <a:off x="4814280" y="4232810"/>
            <a:ext cx="2424720"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cxnSp>
        <p:nvCxnSpPr>
          <p:cNvPr id="74" name="Straight Connector 73"/>
          <p:cNvCxnSpPr/>
          <p:nvPr/>
        </p:nvCxnSpPr>
        <p:spPr bwMode="auto">
          <a:xfrm>
            <a:off x="4600576" y="5032910"/>
            <a:ext cx="2638424"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cxnSp>
        <p:nvCxnSpPr>
          <p:cNvPr id="81" name="Straight Connector 80"/>
          <p:cNvCxnSpPr/>
          <p:nvPr/>
        </p:nvCxnSpPr>
        <p:spPr bwMode="auto">
          <a:xfrm>
            <a:off x="1409323" y="4356635"/>
            <a:ext cx="2676901"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sp>
        <p:nvSpPr>
          <p:cNvPr id="77" name="Oval 76"/>
          <p:cNvSpPr/>
          <p:nvPr/>
        </p:nvSpPr>
        <p:spPr bwMode="auto">
          <a:xfrm>
            <a:off x="4000500" y="4309009"/>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sp>
        <p:nvSpPr>
          <p:cNvPr id="78" name="Oval 77"/>
          <p:cNvSpPr/>
          <p:nvPr/>
        </p:nvSpPr>
        <p:spPr bwMode="auto">
          <a:xfrm>
            <a:off x="4029075" y="3604159"/>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cxnSp>
        <p:nvCxnSpPr>
          <p:cNvPr id="82" name="Straight Connector 81"/>
          <p:cNvCxnSpPr/>
          <p:nvPr/>
        </p:nvCxnSpPr>
        <p:spPr bwMode="auto">
          <a:xfrm>
            <a:off x="2438400" y="4832885"/>
            <a:ext cx="1743074"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sp>
        <p:nvSpPr>
          <p:cNvPr id="76" name="Oval 75"/>
          <p:cNvSpPr/>
          <p:nvPr/>
        </p:nvSpPr>
        <p:spPr bwMode="auto">
          <a:xfrm>
            <a:off x="4152900" y="4775734"/>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sp>
        <p:nvSpPr>
          <p:cNvPr id="86" name="TextBox 85"/>
          <p:cNvSpPr txBox="1"/>
          <p:nvPr/>
        </p:nvSpPr>
        <p:spPr>
          <a:xfrm>
            <a:off x="5581649" y="1295797"/>
            <a:ext cx="1219200" cy="333375"/>
          </a:xfrm>
          <a:prstGeom prst="rect">
            <a:avLst/>
          </a:prstGeom>
          <a:noFill/>
        </p:spPr>
        <p:txBody>
          <a:bodyPr wrap="square" lIns="0" tIns="0" rIns="0" bIns="0" rtlCol="0">
            <a:normAutofit/>
          </a:bodyPr>
          <a:lstStyle/>
          <a:p>
            <a:pPr fontAlgn="base">
              <a:spcAft>
                <a:spcPts val="600"/>
              </a:spcAft>
            </a:pPr>
            <a:endParaRPr lang="en-US" sz="1400" dirty="0">
              <a:solidFill>
                <a:srgbClr val="626469"/>
              </a:solidFill>
            </a:endParaRPr>
          </a:p>
        </p:txBody>
      </p:sp>
      <p:sp>
        <p:nvSpPr>
          <p:cNvPr id="87" name="TextBox 86"/>
          <p:cNvSpPr txBox="1"/>
          <p:nvPr/>
        </p:nvSpPr>
        <p:spPr>
          <a:xfrm>
            <a:off x="6257926" y="3337460"/>
            <a:ext cx="971549" cy="247650"/>
          </a:xfrm>
          <a:prstGeom prst="rect">
            <a:avLst/>
          </a:prstGeom>
          <a:noFill/>
        </p:spPr>
        <p:txBody>
          <a:bodyPr wrap="square" lIns="0" tIns="0" rIns="0" bIns="0" rtlCol="0">
            <a:normAutofit/>
          </a:bodyPr>
          <a:lstStyle/>
          <a:p>
            <a:pPr algn="r" fontAlgn="base">
              <a:spcAft>
                <a:spcPts val="600"/>
              </a:spcAft>
            </a:pPr>
            <a:r>
              <a:rPr lang="en-US" sz="1400" dirty="0">
                <a:solidFill>
                  <a:srgbClr val="626469"/>
                </a:solidFill>
              </a:rPr>
              <a:t>Indore</a:t>
            </a:r>
          </a:p>
        </p:txBody>
      </p:sp>
      <p:sp>
        <p:nvSpPr>
          <p:cNvPr id="66" name="Oval 65"/>
          <p:cNvSpPr/>
          <p:nvPr/>
        </p:nvSpPr>
        <p:spPr bwMode="auto">
          <a:xfrm>
            <a:off x="4629150" y="3880384"/>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sp>
        <p:nvSpPr>
          <p:cNvPr id="68" name="Oval 67"/>
          <p:cNvSpPr/>
          <p:nvPr/>
        </p:nvSpPr>
        <p:spPr bwMode="auto">
          <a:xfrm>
            <a:off x="4762500" y="4166134"/>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sp>
        <p:nvSpPr>
          <p:cNvPr id="89" name="TextBox 88"/>
          <p:cNvSpPr txBox="1"/>
          <p:nvPr/>
        </p:nvSpPr>
        <p:spPr>
          <a:xfrm>
            <a:off x="5934076" y="4251860"/>
            <a:ext cx="1295400" cy="247650"/>
          </a:xfrm>
          <a:prstGeom prst="rect">
            <a:avLst/>
          </a:prstGeom>
          <a:noFill/>
        </p:spPr>
        <p:txBody>
          <a:bodyPr wrap="square" lIns="0" tIns="0" rIns="0" bIns="0" rtlCol="0">
            <a:normAutofit/>
          </a:bodyPr>
          <a:lstStyle/>
          <a:p>
            <a:pPr algn="r" fontAlgn="base">
              <a:spcAft>
                <a:spcPts val="600"/>
              </a:spcAft>
            </a:pPr>
            <a:r>
              <a:rPr lang="en-US" sz="1400" dirty="0">
                <a:solidFill>
                  <a:srgbClr val="626469"/>
                </a:solidFill>
              </a:rPr>
              <a:t>Guntur</a:t>
            </a:r>
          </a:p>
        </p:txBody>
      </p:sp>
      <p:sp>
        <p:nvSpPr>
          <p:cNvPr id="90" name="TextBox 89"/>
          <p:cNvSpPr txBox="1"/>
          <p:nvPr/>
        </p:nvSpPr>
        <p:spPr>
          <a:xfrm>
            <a:off x="5581650" y="5061484"/>
            <a:ext cx="1647826" cy="304799"/>
          </a:xfrm>
          <a:prstGeom prst="rect">
            <a:avLst/>
          </a:prstGeom>
          <a:noFill/>
        </p:spPr>
        <p:txBody>
          <a:bodyPr wrap="square" lIns="0" tIns="0" rIns="0" bIns="0" rtlCol="0">
            <a:noAutofit/>
          </a:bodyPr>
          <a:lstStyle/>
          <a:p>
            <a:pPr algn="r" fontAlgn="base">
              <a:spcAft>
                <a:spcPts val="600"/>
              </a:spcAft>
            </a:pPr>
            <a:r>
              <a:rPr lang="en-US" sz="1400" dirty="0" err="1">
                <a:solidFill>
                  <a:srgbClr val="626469"/>
                </a:solidFill>
              </a:rPr>
              <a:t>Kadambankulam</a:t>
            </a:r>
            <a:endParaRPr lang="en-US" sz="1400" dirty="0">
              <a:solidFill>
                <a:srgbClr val="626469"/>
              </a:solidFill>
            </a:endParaRPr>
          </a:p>
        </p:txBody>
      </p:sp>
      <p:sp>
        <p:nvSpPr>
          <p:cNvPr id="91" name="TextBox 90"/>
          <p:cNvSpPr txBox="1"/>
          <p:nvPr/>
        </p:nvSpPr>
        <p:spPr>
          <a:xfrm>
            <a:off x="2438400" y="4842409"/>
            <a:ext cx="1647826" cy="304799"/>
          </a:xfrm>
          <a:prstGeom prst="rect">
            <a:avLst/>
          </a:prstGeom>
          <a:noFill/>
        </p:spPr>
        <p:txBody>
          <a:bodyPr wrap="square" lIns="0" tIns="0" rIns="0" bIns="0" rtlCol="0">
            <a:noAutofit/>
          </a:bodyPr>
          <a:lstStyle/>
          <a:p>
            <a:pPr fontAlgn="base">
              <a:spcAft>
                <a:spcPts val="600"/>
              </a:spcAft>
            </a:pPr>
            <a:r>
              <a:rPr lang="en-US" sz="1400" dirty="0" smtClean="0">
                <a:solidFill>
                  <a:srgbClr val="626469"/>
                </a:solidFill>
              </a:rPr>
              <a:t>Bengaluru</a:t>
            </a:r>
            <a:endParaRPr lang="en-US" sz="1400" dirty="0">
              <a:solidFill>
                <a:srgbClr val="626469"/>
              </a:solidFill>
            </a:endParaRPr>
          </a:p>
        </p:txBody>
      </p:sp>
      <p:sp>
        <p:nvSpPr>
          <p:cNvPr id="92" name="TextBox 91"/>
          <p:cNvSpPr txBox="1"/>
          <p:nvPr/>
        </p:nvSpPr>
        <p:spPr>
          <a:xfrm>
            <a:off x="2438400" y="4366159"/>
            <a:ext cx="1647826" cy="304799"/>
          </a:xfrm>
          <a:prstGeom prst="rect">
            <a:avLst/>
          </a:prstGeom>
          <a:noFill/>
        </p:spPr>
        <p:txBody>
          <a:bodyPr wrap="square" lIns="0" tIns="0" rIns="0" bIns="0" rtlCol="0">
            <a:noAutofit/>
          </a:bodyPr>
          <a:lstStyle/>
          <a:p>
            <a:pPr fontAlgn="base">
              <a:spcAft>
                <a:spcPts val="600"/>
              </a:spcAft>
            </a:pPr>
            <a:r>
              <a:rPr lang="en-US" sz="1400" dirty="0" err="1">
                <a:solidFill>
                  <a:srgbClr val="626469"/>
                </a:solidFill>
              </a:rPr>
              <a:t>Ranebenur</a:t>
            </a:r>
            <a:endParaRPr lang="en-US" sz="1400" dirty="0">
              <a:solidFill>
                <a:srgbClr val="626469"/>
              </a:solidFill>
            </a:endParaRPr>
          </a:p>
        </p:txBody>
      </p:sp>
      <p:sp>
        <p:nvSpPr>
          <p:cNvPr id="93" name="TextBox 92"/>
          <p:cNvSpPr txBox="1"/>
          <p:nvPr/>
        </p:nvSpPr>
        <p:spPr>
          <a:xfrm>
            <a:off x="2438400" y="2746909"/>
            <a:ext cx="1647826" cy="304799"/>
          </a:xfrm>
          <a:prstGeom prst="rect">
            <a:avLst/>
          </a:prstGeom>
          <a:noFill/>
        </p:spPr>
        <p:txBody>
          <a:bodyPr wrap="square" lIns="0" tIns="0" rIns="0" bIns="0" rtlCol="0">
            <a:noAutofit/>
          </a:bodyPr>
          <a:lstStyle/>
          <a:p>
            <a:pPr fontAlgn="base">
              <a:spcAft>
                <a:spcPts val="600"/>
              </a:spcAft>
            </a:pPr>
            <a:r>
              <a:rPr lang="en-US" sz="1400" dirty="0">
                <a:solidFill>
                  <a:srgbClr val="626469"/>
                </a:solidFill>
              </a:rPr>
              <a:t>Aurangabad</a:t>
            </a:r>
          </a:p>
        </p:txBody>
      </p:sp>
      <p:sp>
        <p:nvSpPr>
          <p:cNvPr id="94" name="TextBox 93"/>
          <p:cNvSpPr txBox="1"/>
          <p:nvPr/>
        </p:nvSpPr>
        <p:spPr>
          <a:xfrm>
            <a:off x="2438400" y="2242084"/>
            <a:ext cx="1647826" cy="304799"/>
          </a:xfrm>
          <a:prstGeom prst="rect">
            <a:avLst/>
          </a:prstGeom>
          <a:noFill/>
        </p:spPr>
        <p:txBody>
          <a:bodyPr wrap="square" lIns="0" tIns="0" rIns="0" bIns="0" rtlCol="0">
            <a:noAutofit/>
          </a:bodyPr>
          <a:lstStyle/>
          <a:p>
            <a:pPr fontAlgn="base">
              <a:spcAft>
                <a:spcPts val="600"/>
              </a:spcAft>
            </a:pPr>
            <a:r>
              <a:rPr lang="en-US" sz="1400" dirty="0" err="1">
                <a:solidFill>
                  <a:srgbClr val="626469"/>
                </a:solidFill>
              </a:rPr>
              <a:t>Karnal</a:t>
            </a:r>
            <a:endParaRPr lang="en-US" sz="1400" dirty="0">
              <a:solidFill>
                <a:srgbClr val="626469"/>
              </a:solidFill>
            </a:endParaRPr>
          </a:p>
        </p:txBody>
      </p:sp>
      <p:sp>
        <p:nvSpPr>
          <p:cNvPr id="96" name="TextBox 95"/>
          <p:cNvSpPr txBox="1"/>
          <p:nvPr/>
        </p:nvSpPr>
        <p:spPr>
          <a:xfrm>
            <a:off x="5386381" y="482601"/>
            <a:ext cx="1647826" cy="304799"/>
          </a:xfrm>
          <a:prstGeom prst="rect">
            <a:avLst/>
          </a:prstGeom>
          <a:noFill/>
        </p:spPr>
        <p:txBody>
          <a:bodyPr wrap="square" lIns="0" tIns="0" rIns="0" bIns="0" rtlCol="0">
            <a:noAutofit/>
          </a:bodyPr>
          <a:lstStyle/>
          <a:p>
            <a:pPr fontAlgn="base">
              <a:spcAft>
                <a:spcPts val="600"/>
              </a:spcAft>
            </a:pPr>
            <a:r>
              <a:rPr lang="en-US" sz="1400" dirty="0" err="1">
                <a:solidFill>
                  <a:srgbClr val="626469"/>
                </a:solidFill>
              </a:rPr>
              <a:t>Katrain</a:t>
            </a:r>
            <a:endParaRPr lang="en-US" sz="1400" dirty="0">
              <a:solidFill>
                <a:srgbClr val="626469"/>
              </a:solidFill>
            </a:endParaRPr>
          </a:p>
        </p:txBody>
      </p:sp>
      <p:grpSp>
        <p:nvGrpSpPr>
          <p:cNvPr id="97" name="Group 96"/>
          <p:cNvGrpSpPr/>
          <p:nvPr/>
        </p:nvGrpSpPr>
        <p:grpSpPr>
          <a:xfrm flipH="1">
            <a:off x="1400175" y="2994559"/>
            <a:ext cx="2680682" cy="619125"/>
            <a:chOff x="4048124" y="1133475"/>
            <a:chExt cx="1989877" cy="1323975"/>
          </a:xfrm>
        </p:grpSpPr>
        <p:cxnSp>
          <p:nvCxnSpPr>
            <p:cNvPr id="98" name="Straight Connector 97"/>
            <p:cNvCxnSpPr/>
            <p:nvPr/>
          </p:nvCxnSpPr>
          <p:spPr bwMode="auto">
            <a:xfrm flipV="1">
              <a:off x="4048125" y="1133475"/>
              <a:ext cx="0" cy="1323975"/>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cxnSp>
          <p:nvCxnSpPr>
            <p:cNvPr id="99" name="Straight Connector 98"/>
            <p:cNvCxnSpPr/>
            <p:nvPr/>
          </p:nvCxnSpPr>
          <p:spPr bwMode="auto">
            <a:xfrm>
              <a:off x="4048124" y="1133475"/>
              <a:ext cx="1989877"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grpSp>
      <p:cxnSp>
        <p:nvCxnSpPr>
          <p:cNvPr id="101" name="Straight Connector 100"/>
          <p:cNvCxnSpPr/>
          <p:nvPr/>
        </p:nvCxnSpPr>
        <p:spPr bwMode="auto">
          <a:xfrm>
            <a:off x="2438400" y="3977508"/>
            <a:ext cx="1426876"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sp>
        <p:nvSpPr>
          <p:cNvPr id="104" name="TextBox 103"/>
          <p:cNvSpPr txBox="1"/>
          <p:nvPr/>
        </p:nvSpPr>
        <p:spPr>
          <a:xfrm>
            <a:off x="2438400" y="3985159"/>
            <a:ext cx="1647826" cy="304799"/>
          </a:xfrm>
          <a:prstGeom prst="rect">
            <a:avLst/>
          </a:prstGeom>
          <a:noFill/>
        </p:spPr>
        <p:txBody>
          <a:bodyPr wrap="square" lIns="0" tIns="0" rIns="0" bIns="0" rtlCol="0">
            <a:noAutofit/>
          </a:bodyPr>
          <a:lstStyle/>
          <a:p>
            <a:pPr fontAlgn="base">
              <a:spcAft>
                <a:spcPts val="600"/>
              </a:spcAft>
            </a:pPr>
            <a:r>
              <a:rPr lang="en-US" sz="1400" dirty="0" err="1">
                <a:solidFill>
                  <a:srgbClr val="626469"/>
                </a:solidFill>
              </a:rPr>
              <a:t>Pune</a:t>
            </a:r>
            <a:r>
              <a:rPr lang="en-US" sz="1400" dirty="0">
                <a:solidFill>
                  <a:srgbClr val="626469"/>
                </a:solidFill>
              </a:rPr>
              <a:t> (HQ)</a:t>
            </a:r>
          </a:p>
        </p:txBody>
      </p:sp>
      <p:sp>
        <p:nvSpPr>
          <p:cNvPr id="106" name="Oval 105"/>
          <p:cNvSpPr/>
          <p:nvPr/>
        </p:nvSpPr>
        <p:spPr bwMode="auto">
          <a:xfrm>
            <a:off x="3743325" y="3766084"/>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grpSp>
        <p:nvGrpSpPr>
          <p:cNvPr id="107" name="Group 106"/>
          <p:cNvGrpSpPr/>
          <p:nvPr/>
        </p:nvGrpSpPr>
        <p:grpSpPr>
          <a:xfrm flipH="1">
            <a:off x="461962" y="3223159"/>
            <a:ext cx="3333141" cy="542925"/>
            <a:chOff x="4048125" y="1133475"/>
            <a:chExt cx="1219200" cy="1323975"/>
          </a:xfrm>
        </p:grpSpPr>
        <p:cxnSp>
          <p:nvCxnSpPr>
            <p:cNvPr id="108" name="Straight Connector 107"/>
            <p:cNvCxnSpPr/>
            <p:nvPr/>
          </p:nvCxnSpPr>
          <p:spPr bwMode="auto">
            <a:xfrm flipV="1">
              <a:off x="4048125" y="1133475"/>
              <a:ext cx="0" cy="1323975"/>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cxnSp>
          <p:nvCxnSpPr>
            <p:cNvPr id="109" name="Straight Connector 108"/>
            <p:cNvCxnSpPr/>
            <p:nvPr/>
          </p:nvCxnSpPr>
          <p:spPr bwMode="auto">
            <a:xfrm>
              <a:off x="4048125" y="1133475"/>
              <a:ext cx="1219200"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grpSp>
      <p:sp>
        <p:nvSpPr>
          <p:cNvPr id="110" name="TextBox 109"/>
          <p:cNvSpPr txBox="1"/>
          <p:nvPr/>
        </p:nvSpPr>
        <p:spPr>
          <a:xfrm>
            <a:off x="2438400" y="3242209"/>
            <a:ext cx="1647826" cy="304799"/>
          </a:xfrm>
          <a:prstGeom prst="rect">
            <a:avLst/>
          </a:prstGeom>
          <a:noFill/>
        </p:spPr>
        <p:txBody>
          <a:bodyPr wrap="square" lIns="0" tIns="0" rIns="0" bIns="0" rtlCol="0">
            <a:noAutofit/>
          </a:bodyPr>
          <a:lstStyle/>
          <a:p>
            <a:pPr fontAlgn="base">
              <a:spcAft>
                <a:spcPts val="600"/>
              </a:spcAft>
            </a:pPr>
            <a:r>
              <a:rPr lang="en-US" sz="1400" dirty="0">
                <a:solidFill>
                  <a:srgbClr val="626469"/>
                </a:solidFill>
              </a:rPr>
              <a:t>Goa</a:t>
            </a:r>
          </a:p>
        </p:txBody>
      </p:sp>
      <p:cxnSp>
        <p:nvCxnSpPr>
          <p:cNvPr id="111" name="Straight Connector 110"/>
          <p:cNvCxnSpPr/>
          <p:nvPr/>
        </p:nvCxnSpPr>
        <p:spPr bwMode="auto">
          <a:xfrm>
            <a:off x="4642830" y="4575710"/>
            <a:ext cx="2577120"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sp>
        <p:nvSpPr>
          <p:cNvPr id="112" name="Oval 111"/>
          <p:cNvSpPr/>
          <p:nvPr/>
        </p:nvSpPr>
        <p:spPr bwMode="auto">
          <a:xfrm>
            <a:off x="4552950" y="4509034"/>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sp>
        <p:nvSpPr>
          <p:cNvPr id="113" name="TextBox 112"/>
          <p:cNvSpPr txBox="1"/>
          <p:nvPr/>
        </p:nvSpPr>
        <p:spPr>
          <a:xfrm>
            <a:off x="5934076" y="4594760"/>
            <a:ext cx="1295400" cy="247650"/>
          </a:xfrm>
          <a:prstGeom prst="rect">
            <a:avLst/>
          </a:prstGeom>
          <a:noFill/>
        </p:spPr>
        <p:txBody>
          <a:bodyPr wrap="square" lIns="0" tIns="0" rIns="0" bIns="0" rtlCol="0">
            <a:normAutofit/>
          </a:bodyPr>
          <a:lstStyle/>
          <a:p>
            <a:pPr algn="r" fontAlgn="base">
              <a:spcAft>
                <a:spcPts val="600"/>
              </a:spcAft>
            </a:pPr>
            <a:r>
              <a:rPr lang="en-US" sz="1400" dirty="0" err="1">
                <a:solidFill>
                  <a:srgbClr val="626469"/>
                </a:solidFill>
              </a:rPr>
              <a:t>Nuthankal</a:t>
            </a:r>
            <a:endParaRPr lang="en-US" sz="1400" dirty="0">
              <a:solidFill>
                <a:srgbClr val="626469"/>
              </a:solidFill>
            </a:endParaRPr>
          </a:p>
        </p:txBody>
      </p:sp>
      <p:sp>
        <p:nvSpPr>
          <p:cNvPr id="100" name="Oval 99"/>
          <p:cNvSpPr/>
          <p:nvPr/>
        </p:nvSpPr>
        <p:spPr bwMode="auto">
          <a:xfrm>
            <a:off x="3829050" y="3918484"/>
            <a:ext cx="190500" cy="190500"/>
          </a:xfrm>
          <a:prstGeom prst="ellipse">
            <a:avLst/>
          </a:prstGeom>
          <a:solidFill>
            <a:srgbClr val="5F78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sp>
        <p:nvSpPr>
          <p:cNvPr id="116" name="Isosceles Triangle 115"/>
          <p:cNvSpPr/>
          <p:nvPr/>
        </p:nvSpPr>
        <p:spPr bwMode="auto">
          <a:xfrm>
            <a:off x="3869532" y="3956583"/>
            <a:ext cx="102393" cy="88270"/>
          </a:xfrm>
          <a:prstGeom prst="triangle">
            <a:avLst/>
          </a:prstGeom>
          <a:solidFill>
            <a:srgbClr val="92D05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pic>
        <p:nvPicPr>
          <p:cNvPr id="3" name="Picture 11" descr="Description: 01060003"/>
          <p:cNvPicPr>
            <a:picLocks noChangeAspect="1" noChangeArrowheads="1"/>
          </p:cNvPicPr>
          <p:nvPr/>
        </p:nvPicPr>
        <p:blipFill>
          <a:blip r:embed="rId3" cstate="print">
            <a:lum contrast="10000"/>
          </a:blip>
          <a:srcRect t="8333" b="8334"/>
          <a:stretch>
            <a:fillRect/>
          </a:stretch>
        </p:blipFill>
        <p:spPr bwMode="auto">
          <a:xfrm>
            <a:off x="498554" y="3242148"/>
            <a:ext cx="1497246" cy="892021"/>
          </a:xfrm>
          <a:prstGeom prst="rect">
            <a:avLst/>
          </a:prstGeom>
          <a:noFill/>
          <a:ln w="9525">
            <a:noFill/>
            <a:miter lim="800000"/>
            <a:headEnd/>
            <a:tailEnd/>
          </a:ln>
        </p:spPr>
      </p:pic>
      <p:pic>
        <p:nvPicPr>
          <p:cNvPr id="1029" name="Picture 10" descr="Description: MWF PD Building4"/>
          <p:cNvPicPr>
            <a:picLocks noChangeAspect="1" noChangeArrowheads="1"/>
          </p:cNvPicPr>
          <p:nvPr/>
        </p:nvPicPr>
        <p:blipFill>
          <a:blip r:embed="rId4" cstate="print"/>
          <a:srcRect b="14286"/>
          <a:stretch>
            <a:fillRect/>
          </a:stretch>
        </p:blipFill>
        <p:spPr bwMode="auto">
          <a:xfrm>
            <a:off x="409645" y="2316944"/>
            <a:ext cx="1476341" cy="826520"/>
          </a:xfrm>
          <a:prstGeom prst="rect">
            <a:avLst/>
          </a:prstGeom>
          <a:noFill/>
          <a:ln w="9525">
            <a:noFill/>
            <a:miter lim="800000"/>
            <a:headEnd/>
            <a:tailEnd/>
          </a:ln>
        </p:spPr>
      </p:pic>
      <p:pic>
        <p:nvPicPr>
          <p:cNvPr id="1030" name="Picture 3" descr="Description: C:\PersonalData\karnal farm photos\15042009734.jpg"/>
          <p:cNvPicPr>
            <a:picLocks noChangeAspect="1" noChangeArrowheads="1"/>
          </p:cNvPicPr>
          <p:nvPr/>
        </p:nvPicPr>
        <p:blipFill>
          <a:blip r:embed="rId5" cstate="print"/>
          <a:srcRect t="21518" b="14359"/>
          <a:stretch>
            <a:fillRect/>
          </a:stretch>
        </p:blipFill>
        <p:spPr bwMode="auto">
          <a:xfrm>
            <a:off x="1394832" y="1462485"/>
            <a:ext cx="1556767" cy="747585"/>
          </a:xfrm>
          <a:prstGeom prst="rect">
            <a:avLst/>
          </a:prstGeom>
          <a:noFill/>
          <a:ln w="9525">
            <a:noFill/>
            <a:miter lim="800000"/>
            <a:headEnd/>
            <a:tailEnd/>
          </a:ln>
        </p:spPr>
      </p:pic>
      <p:sp>
        <p:nvSpPr>
          <p:cNvPr id="118" name="Title 1"/>
          <p:cNvSpPr txBox="1">
            <a:spLocks/>
          </p:cNvSpPr>
          <p:nvPr/>
        </p:nvSpPr>
        <p:spPr bwMode="auto">
          <a:xfrm>
            <a:off x="279400" y="5493819"/>
            <a:ext cx="8861904" cy="8128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defTabSz="957263" fontAlgn="base">
              <a:lnSpc>
                <a:spcPct val="90000"/>
              </a:lnSpc>
              <a:spcBef>
                <a:spcPct val="0"/>
              </a:spcBef>
              <a:spcAft>
                <a:spcPct val="0"/>
              </a:spcAft>
              <a:defRPr/>
            </a:pPr>
            <a:r>
              <a:rPr lang="en-US" sz="2000" dirty="0">
                <a:solidFill>
                  <a:srgbClr val="626469"/>
                </a:solidFill>
              </a:rPr>
              <a:t>Locations of Research Farms, Seed Processing farms, major facilities in India</a:t>
            </a:r>
            <a:endParaRPr lang="en-US" sz="2000" b="1" kern="0" dirty="0">
              <a:solidFill>
                <a:srgbClr val="EB8200"/>
              </a:solidFill>
            </a:endParaRPr>
          </a:p>
        </p:txBody>
      </p:sp>
      <p:pic>
        <p:nvPicPr>
          <p:cNvPr id="119" name="Picture 13" descr="E:\Admin Photos Front view\IMG_2885.JPG"/>
          <p:cNvPicPr>
            <a:picLocks noChangeAspect="1" noChangeArrowheads="1"/>
          </p:cNvPicPr>
          <p:nvPr/>
        </p:nvPicPr>
        <p:blipFill>
          <a:blip r:embed="rId6" cstate="print"/>
          <a:srcRect/>
          <a:stretch>
            <a:fillRect/>
          </a:stretch>
        </p:blipFill>
        <p:spPr bwMode="auto">
          <a:xfrm>
            <a:off x="7727628" y="2926452"/>
            <a:ext cx="1286810" cy="1009996"/>
          </a:xfrm>
          <a:prstGeom prst="rect">
            <a:avLst/>
          </a:prstGeom>
          <a:noFill/>
          <a:ln>
            <a:solidFill>
              <a:srgbClr val="D9D5D2"/>
            </a:solidFill>
          </a:ln>
        </p:spPr>
      </p:pic>
      <p:pic>
        <p:nvPicPr>
          <p:cNvPr id="120" name="Picture 3"/>
          <p:cNvPicPr>
            <a:picLocks noChangeAspect="1" noChangeArrowheads="1"/>
          </p:cNvPicPr>
          <p:nvPr/>
        </p:nvPicPr>
        <p:blipFill>
          <a:blip r:embed="rId7" cstate="print"/>
          <a:srcRect/>
          <a:stretch>
            <a:fillRect/>
          </a:stretch>
        </p:blipFill>
        <p:spPr bwMode="auto">
          <a:xfrm>
            <a:off x="641915" y="4350048"/>
            <a:ext cx="1558138" cy="982065"/>
          </a:xfrm>
          <a:prstGeom prst="rect">
            <a:avLst/>
          </a:prstGeom>
          <a:noFill/>
          <a:ln w="9525">
            <a:noFill/>
            <a:miter lim="800000"/>
            <a:headEnd/>
            <a:tailEnd/>
          </a:ln>
        </p:spPr>
      </p:pic>
      <p:pic>
        <p:nvPicPr>
          <p:cNvPr id="58" name="Picture 13" descr="C:\Users\u422079\Desktop\DSCN3786.JPG"/>
          <p:cNvPicPr>
            <a:picLocks noChangeAspect="1" noChangeArrowheads="1"/>
          </p:cNvPicPr>
          <p:nvPr/>
        </p:nvPicPr>
        <p:blipFill>
          <a:blip r:embed="rId8" cstate="print"/>
          <a:srcRect/>
          <a:stretch>
            <a:fillRect/>
          </a:stretch>
        </p:blipFill>
        <p:spPr bwMode="auto">
          <a:xfrm>
            <a:off x="6173044" y="43651"/>
            <a:ext cx="1356637" cy="1057379"/>
          </a:xfrm>
          <a:prstGeom prst="rect">
            <a:avLst/>
          </a:prstGeom>
          <a:noFill/>
        </p:spPr>
      </p:pic>
      <p:sp>
        <p:nvSpPr>
          <p:cNvPr id="70" name="Oval 69"/>
          <p:cNvSpPr/>
          <p:nvPr/>
        </p:nvSpPr>
        <p:spPr bwMode="auto">
          <a:xfrm>
            <a:off x="5003800" y="4115334"/>
            <a:ext cx="104775" cy="104775"/>
          </a:xfrm>
          <a:prstGeom prst="ellipse">
            <a:avLst/>
          </a:prstGeom>
          <a:solidFill>
            <a:srgbClr val="EB8200"/>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ts val="600"/>
              </a:spcAft>
            </a:pPr>
            <a:endParaRPr lang="en-US" sz="1000">
              <a:solidFill>
                <a:srgbClr val="626469"/>
              </a:solidFill>
            </a:endParaRPr>
          </a:p>
        </p:txBody>
      </p:sp>
      <p:cxnSp>
        <p:nvCxnSpPr>
          <p:cNvPr id="71" name="Straight Connector 70"/>
          <p:cNvCxnSpPr/>
          <p:nvPr/>
        </p:nvCxnSpPr>
        <p:spPr bwMode="auto">
          <a:xfrm>
            <a:off x="5056187" y="4152394"/>
            <a:ext cx="3516313" cy="0"/>
          </a:xfrm>
          <a:prstGeom prst="line">
            <a:avLst/>
          </a:prstGeom>
          <a:solidFill>
            <a:schemeClr val="accent2"/>
          </a:solidFill>
          <a:ln w="6350" cap="flat" cmpd="sng" algn="ctr">
            <a:solidFill>
              <a:schemeClr val="bg1">
                <a:lumMod val="50000"/>
              </a:schemeClr>
            </a:solidFill>
            <a:prstDash val="solid"/>
            <a:round/>
            <a:headEnd type="none" w="sm" len="sm"/>
            <a:tailEnd type="none" w="sm" len="sm"/>
          </a:ln>
          <a:effectLst/>
        </p:spPr>
      </p:cxnSp>
      <p:sp>
        <p:nvSpPr>
          <p:cNvPr id="72" name="TextBox 71"/>
          <p:cNvSpPr txBox="1"/>
          <p:nvPr/>
        </p:nvSpPr>
        <p:spPr>
          <a:xfrm>
            <a:off x="6405563" y="3677717"/>
            <a:ext cx="1295400" cy="247650"/>
          </a:xfrm>
          <a:prstGeom prst="rect">
            <a:avLst/>
          </a:prstGeom>
          <a:noFill/>
        </p:spPr>
        <p:txBody>
          <a:bodyPr wrap="square" lIns="0" tIns="0" rIns="0" bIns="0" rtlCol="0">
            <a:normAutofit/>
          </a:bodyPr>
          <a:lstStyle/>
          <a:p>
            <a:pPr algn="r" fontAlgn="base">
              <a:spcAft>
                <a:spcPts val="600"/>
              </a:spcAft>
            </a:pPr>
            <a:r>
              <a:rPr lang="en-US" sz="1400" dirty="0">
                <a:solidFill>
                  <a:srgbClr val="626469"/>
                </a:solidFill>
              </a:rPr>
              <a:t>Hyderabad</a:t>
            </a:r>
          </a:p>
        </p:txBody>
      </p:sp>
      <p:pic>
        <p:nvPicPr>
          <p:cNvPr id="75" name="Picture 9"/>
          <p:cNvPicPr>
            <a:picLocks noChangeAspect="1" noChangeArrowheads="1"/>
          </p:cNvPicPr>
          <p:nvPr/>
        </p:nvPicPr>
        <p:blipFill>
          <a:blip r:embed="rId9" cstate="print"/>
          <a:srcRect t="8836" b="20477"/>
          <a:stretch>
            <a:fillRect/>
          </a:stretch>
        </p:blipFill>
        <p:spPr bwMode="auto">
          <a:xfrm>
            <a:off x="7657843" y="4068041"/>
            <a:ext cx="1483462" cy="784791"/>
          </a:xfrm>
          <a:prstGeom prst="rect">
            <a:avLst/>
          </a:prstGeom>
          <a:noFill/>
          <a:ln w="9525">
            <a:noFill/>
            <a:miter lim="800000"/>
            <a:headEnd/>
            <a:tailEnd/>
          </a:ln>
        </p:spPr>
      </p:pic>
      <p:sp>
        <p:nvSpPr>
          <p:cNvPr id="79" name="TextBox 78"/>
          <p:cNvSpPr txBox="1"/>
          <p:nvPr/>
        </p:nvSpPr>
        <p:spPr>
          <a:xfrm>
            <a:off x="6316663" y="3957117"/>
            <a:ext cx="1295400" cy="247650"/>
          </a:xfrm>
          <a:prstGeom prst="rect">
            <a:avLst/>
          </a:prstGeom>
          <a:noFill/>
        </p:spPr>
        <p:txBody>
          <a:bodyPr wrap="square" lIns="0" tIns="0" rIns="0" bIns="0" rtlCol="0">
            <a:normAutofit/>
          </a:bodyPr>
          <a:lstStyle/>
          <a:p>
            <a:pPr algn="r" fontAlgn="base">
              <a:spcAft>
                <a:spcPts val="600"/>
              </a:spcAft>
            </a:pPr>
            <a:r>
              <a:rPr lang="en-US" sz="1400" dirty="0" err="1">
                <a:solidFill>
                  <a:srgbClr val="626469"/>
                </a:solidFill>
              </a:rPr>
              <a:t>Eluru</a:t>
            </a:r>
            <a:endParaRPr lang="en-US" sz="1400" dirty="0">
              <a:solidFill>
                <a:srgbClr val="626469"/>
              </a:solidFill>
            </a:endParaRPr>
          </a:p>
        </p:txBody>
      </p:sp>
      <p:sp>
        <p:nvSpPr>
          <p:cNvPr id="4" name="Rectangle 3"/>
          <p:cNvSpPr/>
          <p:nvPr/>
        </p:nvSpPr>
        <p:spPr>
          <a:xfrm>
            <a:off x="658258" y="6485818"/>
            <a:ext cx="1542410" cy="253916"/>
          </a:xfrm>
          <a:prstGeom prst="rect">
            <a:avLst/>
          </a:prstGeom>
        </p:spPr>
        <p:txBody>
          <a:bodyPr wrap="none">
            <a:spAutoFit/>
          </a:bodyPr>
          <a:lstStyle/>
          <a:p>
            <a:pPr>
              <a:defRPr/>
            </a:pPr>
            <a:r>
              <a:rPr lang="en-US" sz="1050" dirty="0"/>
              <a:t>Classification: PUBLIC</a:t>
            </a:r>
          </a:p>
        </p:txBody>
      </p:sp>
    </p:spTree>
    <p:extLst>
      <p:ext uri="{BB962C8B-B14F-4D97-AF65-F5344CB8AC3E}">
        <p14:creationId xmlns:p14="http://schemas.microsoft.com/office/powerpoint/2010/main" val="561234134"/>
      </p:ext>
    </p:extLst>
  </p:cSld>
  <p:clrMapOvr>
    <a:masterClrMapping/>
  </p:clrMapOvr>
  <p:transition>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3300" y="287114"/>
            <a:ext cx="8453437" cy="817147"/>
          </a:xfrm>
        </p:spPr>
        <p:txBody>
          <a:bodyPr/>
          <a:lstStyle/>
          <a:p>
            <a:r>
              <a:rPr lang="en-GB" dirty="0" smtClean="0"/>
              <a:t>The big picture </a:t>
            </a:r>
            <a:br>
              <a:rPr lang="en-GB" dirty="0" smtClean="0"/>
            </a:br>
            <a:r>
              <a:rPr lang="en-GB" sz="2200" dirty="0" smtClean="0">
                <a:solidFill>
                  <a:schemeClr val="tx1"/>
                </a:solidFill>
              </a:rPr>
              <a:t>Yields have advanced – but more is needed</a:t>
            </a:r>
            <a:endParaRPr lang="en-GB" sz="2200" dirty="0">
              <a:solidFill>
                <a:schemeClr val="tx1"/>
              </a:solidFill>
            </a:endParaRPr>
          </a:p>
        </p:txBody>
      </p:sp>
      <p:pic>
        <p:nvPicPr>
          <p:cNvPr id="14" name="Picture 13" descr="Brazil_Castro_ext_01.jpg"/>
          <p:cNvPicPr>
            <a:picLocks noChangeAspect="1"/>
          </p:cNvPicPr>
          <p:nvPr/>
        </p:nvPicPr>
        <p:blipFill rotWithShape="1">
          <a:blip r:embed="rId3" cstate="print"/>
          <a:srcRect b="43"/>
          <a:stretch/>
        </p:blipFill>
        <p:spPr>
          <a:xfrm>
            <a:off x="0" y="-13582"/>
            <a:ext cx="9144000" cy="6871582"/>
          </a:xfrm>
          <a:prstGeom prst="rect">
            <a:avLst/>
          </a:prstGeom>
        </p:spPr>
      </p:pic>
      <p:sp>
        <p:nvSpPr>
          <p:cNvPr id="15" name="Title 1"/>
          <p:cNvSpPr txBox="1">
            <a:spLocks/>
          </p:cNvSpPr>
          <p:nvPr/>
        </p:nvSpPr>
        <p:spPr bwMode="auto">
          <a:xfrm>
            <a:off x="0" y="5778000"/>
            <a:ext cx="9144000" cy="1080000"/>
          </a:xfrm>
          <a:prstGeom prst="rect">
            <a:avLst/>
          </a:prstGeom>
          <a:solidFill>
            <a:srgbClr val="FFCC00">
              <a:alpha val="64706"/>
            </a:srgbClr>
          </a:solidFill>
          <a:ln w="9525">
            <a:noFill/>
            <a:miter lim="800000"/>
            <a:headEnd/>
            <a:tailEnd/>
          </a:ln>
        </p:spPr>
        <p:txBody>
          <a:bodyPr vert="horz" wrap="square" lIns="0" tIns="0" rIns="0" bIns="0" numCol="1" anchor="ctr" anchorCtr="1" compatLnSpc="1">
            <a:prstTxWarp prst="textNoShape">
              <a:avLst/>
            </a:prstTxWarp>
          </a:bodyPr>
          <a:lstStyle/>
          <a:p>
            <a:pPr defTabSz="957263" eaLnBrk="0" hangingPunct="0">
              <a:lnSpc>
                <a:spcPct val="95000"/>
              </a:lnSpc>
              <a:spcAft>
                <a:spcPts val="600"/>
              </a:spcAft>
              <a:buClr>
                <a:srgbClr val="FFFFFF"/>
              </a:buClr>
              <a:defRPr/>
            </a:pPr>
            <a:r>
              <a:rPr lang="en-GB" sz="3200" b="1" kern="0" dirty="0" smtClean="0">
                <a:solidFill>
                  <a:srgbClr val="FFFFFF"/>
                </a:solidFill>
                <a:latin typeface="Arial"/>
              </a:rPr>
              <a:t>Corn: a global and highly technified crop</a:t>
            </a:r>
          </a:p>
        </p:txBody>
      </p:sp>
    </p:spTree>
    <p:extLst>
      <p:ext uri="{BB962C8B-B14F-4D97-AF65-F5344CB8AC3E}">
        <p14:creationId xmlns:p14="http://schemas.microsoft.com/office/powerpoint/2010/main" val="3400001669"/>
      </p:ext>
    </p:extLst>
  </p:cSld>
  <p:clrMapOvr>
    <a:masterClrMapping/>
  </p:clrMapOvr>
  <p:transition spd="slow">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p:cNvSpPr>
            <a:spLocks noGrp="1" noChangeArrowheads="1"/>
          </p:cNvSpPr>
          <p:nvPr>
            <p:ph type="title"/>
          </p:nvPr>
        </p:nvSpPr>
        <p:spPr>
          <a:xfrm>
            <a:off x="103218" y="88900"/>
            <a:ext cx="8826500" cy="812800"/>
          </a:xfrm>
        </p:spPr>
        <p:txBody>
          <a:bodyPr/>
          <a:lstStyle/>
          <a:p>
            <a:pPr defTabSz="912813"/>
            <a:r>
              <a:rPr lang="en-US" dirty="0" smtClean="0"/>
              <a:t> Population growth, per capita GDP rise: Major Demand Drivers</a:t>
            </a:r>
          </a:p>
        </p:txBody>
      </p:sp>
      <p:sp>
        <p:nvSpPr>
          <p:cNvPr id="3076" name="Text Box 4"/>
          <p:cNvSpPr txBox="1">
            <a:spLocks noChangeArrowheads="1"/>
          </p:cNvSpPr>
          <p:nvPr/>
        </p:nvSpPr>
        <p:spPr bwMode="auto">
          <a:xfrm>
            <a:off x="142875" y="1023942"/>
            <a:ext cx="3357555" cy="600164"/>
          </a:xfrm>
          <a:prstGeom prst="rect">
            <a:avLst/>
          </a:prstGeom>
          <a:noFill/>
          <a:ln w="12700">
            <a:noFill/>
            <a:miter lim="800000"/>
            <a:headEnd type="none" w="sm" len="sm"/>
            <a:tailEnd type="none" w="sm" len="sm"/>
          </a:ln>
        </p:spPr>
        <p:txBody>
          <a:bodyPr wrap="square">
            <a:spAutoFit/>
          </a:bodyPr>
          <a:lstStyle/>
          <a:p>
            <a:pPr eaLnBrk="0" fontAlgn="base" hangingPunct="0">
              <a:spcBef>
                <a:spcPct val="0"/>
              </a:spcBef>
              <a:spcAft>
                <a:spcPts val="600"/>
              </a:spcAft>
            </a:pPr>
            <a:r>
              <a:rPr lang="en-US" sz="1400" b="1" dirty="0">
                <a:solidFill>
                  <a:srgbClr val="626469"/>
                </a:solidFill>
              </a:rPr>
              <a:t>Corn Grain Demand*</a:t>
            </a:r>
          </a:p>
          <a:p>
            <a:pPr eaLnBrk="0" fontAlgn="base" hangingPunct="0">
              <a:spcBef>
                <a:spcPct val="0"/>
              </a:spcBef>
              <a:spcAft>
                <a:spcPts val="600"/>
              </a:spcAft>
            </a:pPr>
            <a:r>
              <a:rPr lang="en-US" sz="1400" dirty="0">
                <a:solidFill>
                  <a:srgbClr val="626469"/>
                </a:solidFill>
              </a:rPr>
              <a:t>Mio tons</a:t>
            </a:r>
          </a:p>
        </p:txBody>
      </p:sp>
      <p:sp>
        <p:nvSpPr>
          <p:cNvPr id="3077" name="Text Box 25"/>
          <p:cNvSpPr txBox="1">
            <a:spLocks noChangeArrowheads="1"/>
          </p:cNvSpPr>
          <p:nvPr/>
        </p:nvSpPr>
        <p:spPr bwMode="auto">
          <a:xfrm>
            <a:off x="214282" y="1928802"/>
            <a:ext cx="558800" cy="274637"/>
          </a:xfrm>
          <a:prstGeom prst="rect">
            <a:avLst/>
          </a:prstGeom>
          <a:noFill/>
          <a:ln w="12700">
            <a:noFill/>
            <a:miter lim="800000"/>
            <a:headEnd type="none" w="sm" len="sm"/>
            <a:tailEnd type="none" w="sm" len="sm"/>
          </a:ln>
        </p:spPr>
        <p:txBody>
          <a:bodyPr>
            <a:spAutoFit/>
          </a:bodyPr>
          <a:lstStyle/>
          <a:p>
            <a:pPr eaLnBrk="0" fontAlgn="base" hangingPunct="0">
              <a:spcBef>
                <a:spcPct val="50000"/>
              </a:spcBef>
              <a:spcAft>
                <a:spcPts val="600"/>
              </a:spcAft>
            </a:pPr>
            <a:r>
              <a:rPr lang="en-US" sz="1200" b="1" dirty="0">
                <a:solidFill>
                  <a:srgbClr val="626469"/>
                </a:solidFill>
              </a:rPr>
              <a:t>Feed</a:t>
            </a:r>
          </a:p>
        </p:txBody>
      </p:sp>
      <p:sp>
        <p:nvSpPr>
          <p:cNvPr id="2" name="Text Box 37"/>
          <p:cNvSpPr txBox="1">
            <a:spLocks noChangeArrowheads="1"/>
          </p:cNvSpPr>
          <p:nvPr/>
        </p:nvSpPr>
        <p:spPr bwMode="auto">
          <a:xfrm>
            <a:off x="2214566" y="3124200"/>
            <a:ext cx="2786063" cy="415925"/>
          </a:xfrm>
          <a:prstGeom prst="rect">
            <a:avLst/>
          </a:prstGeom>
          <a:solidFill>
            <a:schemeClr val="accent1"/>
          </a:solidFill>
          <a:ln w="12700">
            <a:solidFill>
              <a:schemeClr val="tx1"/>
            </a:solidFill>
            <a:miter lim="800000"/>
            <a:headEnd type="none" w="sm" len="sm"/>
            <a:tailEnd type="none" w="sm" len="sm"/>
          </a:ln>
        </p:spPr>
        <p:txBody>
          <a:bodyPr wrap="none" tIns="0" anchor="ctr"/>
          <a:lstStyle/>
          <a:p>
            <a:pPr algn="ctr" eaLnBrk="0" fontAlgn="base" hangingPunct="0">
              <a:spcBef>
                <a:spcPct val="50000"/>
              </a:spcBef>
              <a:spcAft>
                <a:spcPts val="600"/>
              </a:spcAft>
              <a:defRPr/>
            </a:pPr>
            <a:r>
              <a:rPr lang="en-US" sz="1200" b="1" dirty="0">
                <a:solidFill>
                  <a:srgbClr val="FFFFFF"/>
                </a:solidFill>
              </a:rPr>
              <a:t>Feed demand</a:t>
            </a:r>
          </a:p>
        </p:txBody>
      </p:sp>
      <p:sp>
        <p:nvSpPr>
          <p:cNvPr id="3079" name="Text Box 38"/>
          <p:cNvSpPr txBox="1">
            <a:spLocks noChangeArrowheads="1"/>
          </p:cNvSpPr>
          <p:nvPr/>
        </p:nvSpPr>
        <p:spPr bwMode="auto">
          <a:xfrm>
            <a:off x="5072066" y="3124200"/>
            <a:ext cx="1857375" cy="420688"/>
          </a:xfrm>
          <a:prstGeom prst="rect">
            <a:avLst/>
          </a:prstGeom>
          <a:solidFill>
            <a:schemeClr val="accent2"/>
          </a:solidFill>
          <a:ln w="12700" algn="ctr">
            <a:solidFill>
              <a:schemeClr val="tx1"/>
            </a:solidFill>
            <a:miter lim="800000"/>
            <a:headEnd type="none" w="sm" len="sm"/>
            <a:tailEnd type="none" w="sm" len="sm"/>
          </a:ln>
        </p:spPr>
        <p:txBody>
          <a:bodyPr wrap="none" tIns="0"/>
          <a:lstStyle/>
          <a:p>
            <a:pPr algn="ctr" eaLnBrk="0" fontAlgn="base" hangingPunct="0">
              <a:spcBef>
                <a:spcPct val="50000"/>
              </a:spcBef>
              <a:spcAft>
                <a:spcPts val="600"/>
              </a:spcAft>
            </a:pPr>
            <a:r>
              <a:rPr lang="en-US" sz="1200" b="1" dirty="0">
                <a:solidFill>
                  <a:srgbClr val="FFFFFF"/>
                </a:solidFill>
              </a:rPr>
              <a:t>Food &amp; industrial</a:t>
            </a:r>
            <a:br>
              <a:rPr lang="en-US" sz="1200" b="1" dirty="0">
                <a:solidFill>
                  <a:srgbClr val="FFFFFF"/>
                </a:solidFill>
              </a:rPr>
            </a:br>
            <a:r>
              <a:rPr lang="en-US" sz="1200" b="1" dirty="0">
                <a:solidFill>
                  <a:srgbClr val="FFFFFF"/>
                </a:solidFill>
              </a:rPr>
              <a:t>demand</a:t>
            </a:r>
          </a:p>
        </p:txBody>
      </p:sp>
      <p:sp>
        <p:nvSpPr>
          <p:cNvPr id="56" name="Isosceles Triangle 55"/>
          <p:cNvSpPr/>
          <p:nvPr/>
        </p:nvSpPr>
        <p:spPr bwMode="auto">
          <a:xfrm rot="10800000">
            <a:off x="2187989" y="3657600"/>
            <a:ext cx="4857750" cy="292100"/>
          </a:xfrm>
          <a:prstGeom prst="triangle">
            <a:avLst/>
          </a:prstGeom>
          <a:solidFill>
            <a:schemeClr val="bg1">
              <a:lumMod val="95000"/>
            </a:schemeClr>
          </a:solidFill>
          <a:ln w="6350" cap="flat" cmpd="sng" algn="ctr">
            <a:noFill/>
            <a:prstDash val="solid"/>
            <a:round/>
            <a:headEnd type="none" w="sm" len="sm"/>
            <a:tailEnd type="none" w="sm" len="sm"/>
          </a:ln>
          <a:effectLst/>
        </p:spPr>
        <p:txBody>
          <a:bodyPr/>
          <a:lstStyle/>
          <a:p>
            <a:pPr eaLnBrk="0" fontAlgn="base" hangingPunct="0">
              <a:spcBef>
                <a:spcPct val="0"/>
              </a:spcBef>
              <a:spcAft>
                <a:spcPts val="600"/>
              </a:spcAft>
              <a:defRPr/>
            </a:pPr>
            <a:endParaRPr lang="en-US" sz="1000" dirty="0">
              <a:solidFill>
                <a:srgbClr val="626469"/>
              </a:solidFill>
            </a:endParaRPr>
          </a:p>
        </p:txBody>
      </p:sp>
      <p:sp>
        <p:nvSpPr>
          <p:cNvPr id="57" name="Content Placeholder 11"/>
          <p:cNvSpPr txBox="1">
            <a:spLocks/>
          </p:cNvSpPr>
          <p:nvPr/>
        </p:nvSpPr>
        <p:spPr bwMode="auto">
          <a:xfrm>
            <a:off x="152400" y="4038600"/>
            <a:ext cx="8763000" cy="2033606"/>
          </a:xfrm>
          <a:prstGeom prst="rect">
            <a:avLst/>
          </a:prstGeom>
          <a:noFill/>
          <a:ln w="9525">
            <a:noFill/>
            <a:miter lim="800000"/>
            <a:headEnd/>
            <a:tailEnd/>
          </a:ln>
        </p:spPr>
        <p:txBody>
          <a:bodyPr lIns="108000" tIns="72000" rIns="108000" bIns="72000"/>
          <a:lstStyle/>
          <a:p>
            <a:pPr marL="285750" indent="-166688" defTabSz="957263" eaLnBrk="0" fontAlgn="base" hangingPunct="0">
              <a:spcAft>
                <a:spcPts val="600"/>
              </a:spcAft>
              <a:buClr>
                <a:srgbClr val="5F7800"/>
              </a:buClr>
              <a:buFont typeface="Arial" pitchFamily="34" charset="0"/>
              <a:buChar char="●"/>
              <a:defRPr/>
            </a:pPr>
            <a:r>
              <a:rPr lang="en-US" sz="1200" dirty="0">
                <a:solidFill>
                  <a:srgbClr val="626469"/>
                </a:solidFill>
              </a:rPr>
              <a:t>Income growth (GDP/capita): Steady growth with 8.4% CAGR 2010-20, </a:t>
            </a:r>
          </a:p>
          <a:p>
            <a:pPr marL="285750" indent="-166688" defTabSz="957263" eaLnBrk="0" fontAlgn="base" hangingPunct="0">
              <a:buClr>
                <a:srgbClr val="5F7800"/>
              </a:buClr>
              <a:buFont typeface="Arial" pitchFamily="34" charset="0"/>
              <a:buChar char="●"/>
              <a:defRPr/>
            </a:pPr>
            <a:r>
              <a:rPr lang="en-US" sz="1200" kern="0" dirty="0">
                <a:solidFill>
                  <a:srgbClr val="626469"/>
                </a:solidFill>
              </a:rPr>
              <a:t>Corn for Feed driven by</a:t>
            </a:r>
          </a:p>
          <a:p>
            <a:pPr marL="742950" lvl="1" indent="-166688" defTabSz="957263" eaLnBrk="0" fontAlgn="base" hangingPunct="0">
              <a:buClr>
                <a:srgbClr val="5F7800"/>
              </a:buClr>
              <a:buFont typeface="Arial" pitchFamily="34" charset="0"/>
              <a:buChar char="•"/>
              <a:defRPr/>
            </a:pPr>
            <a:r>
              <a:rPr lang="en-US" sz="1200" kern="0" dirty="0">
                <a:solidFill>
                  <a:srgbClr val="626469"/>
                </a:solidFill>
              </a:rPr>
              <a:t>diet protein increase: meat, egg and dairy, high purchasing power</a:t>
            </a:r>
          </a:p>
          <a:p>
            <a:pPr marL="742950" lvl="1" indent="-166688" defTabSz="957263" eaLnBrk="0" fontAlgn="base" hangingPunct="0">
              <a:buClr>
                <a:srgbClr val="5F7800"/>
              </a:buClr>
              <a:buFont typeface="Arial" pitchFamily="34" charset="0"/>
              <a:buChar char="•"/>
              <a:defRPr/>
            </a:pPr>
            <a:r>
              <a:rPr lang="en-US" sz="1200" kern="0" dirty="0">
                <a:solidFill>
                  <a:srgbClr val="626469"/>
                </a:solidFill>
              </a:rPr>
              <a:t>Poultry meat consumption higher than cattle meat consumption</a:t>
            </a:r>
          </a:p>
          <a:p>
            <a:pPr marL="285750" indent="-166688" defTabSz="957263" eaLnBrk="0" fontAlgn="base" hangingPunct="0">
              <a:spcBef>
                <a:spcPts val="600"/>
              </a:spcBef>
              <a:buClr>
                <a:srgbClr val="5F7800"/>
              </a:buClr>
              <a:buFont typeface="Arial" pitchFamily="34" charset="0"/>
              <a:buChar char="●"/>
              <a:defRPr/>
            </a:pPr>
            <a:r>
              <a:rPr lang="en-US" sz="1200" dirty="0">
                <a:solidFill>
                  <a:srgbClr val="626469"/>
                </a:solidFill>
              </a:rPr>
              <a:t>Corn for Food and Industry driven by</a:t>
            </a:r>
            <a:r>
              <a:rPr lang="en-US" sz="1200" kern="0" dirty="0">
                <a:solidFill>
                  <a:srgbClr val="626469"/>
                </a:solidFill>
              </a:rPr>
              <a:t> </a:t>
            </a:r>
          </a:p>
          <a:p>
            <a:pPr marL="742950" lvl="1" indent="-166688" defTabSz="957263" eaLnBrk="0" fontAlgn="base" hangingPunct="0">
              <a:buClr>
                <a:srgbClr val="5F7800"/>
              </a:buClr>
              <a:buFont typeface="Arial" pitchFamily="34" charset="0"/>
              <a:buChar char="•"/>
              <a:defRPr/>
            </a:pPr>
            <a:r>
              <a:rPr lang="en-US" sz="1200" kern="0" dirty="0">
                <a:solidFill>
                  <a:srgbClr val="626469"/>
                </a:solidFill>
              </a:rPr>
              <a:t>12% Food, 37% Textiles, 51% for others (Chemical Industry)</a:t>
            </a:r>
          </a:p>
          <a:p>
            <a:pPr marL="742950" lvl="1" indent="-166688" defTabSz="957263" eaLnBrk="0" fontAlgn="base" hangingPunct="0">
              <a:buClr>
                <a:srgbClr val="5F7800"/>
              </a:buClr>
              <a:buFont typeface="Arial" pitchFamily="34" charset="0"/>
              <a:buChar char="•"/>
              <a:defRPr/>
            </a:pPr>
            <a:r>
              <a:rPr lang="en-US" sz="1200" kern="0" dirty="0">
                <a:solidFill>
                  <a:srgbClr val="626469"/>
                </a:solidFill>
              </a:rPr>
              <a:t>Corn as food to decline, but artificial sweeteners HFCS to enhance</a:t>
            </a:r>
          </a:p>
          <a:p>
            <a:pPr marL="285750" indent="-166688" defTabSz="957263" eaLnBrk="0" fontAlgn="base" hangingPunct="0">
              <a:spcBef>
                <a:spcPts val="600"/>
              </a:spcBef>
              <a:buClr>
                <a:srgbClr val="5F7800"/>
              </a:buClr>
              <a:buFont typeface="Arial" pitchFamily="34" charset="0"/>
              <a:buChar char="●"/>
              <a:defRPr/>
            </a:pPr>
            <a:r>
              <a:rPr lang="en-US" sz="1200" dirty="0">
                <a:solidFill>
                  <a:srgbClr val="626469"/>
                </a:solidFill>
              </a:rPr>
              <a:t>Industrial: Upside case of Corn consumption for starch and alcohol currently present, a key factor may provoked by </a:t>
            </a:r>
            <a:r>
              <a:rPr lang="en-US" sz="1200" dirty="0" err="1">
                <a:solidFill>
                  <a:srgbClr val="626469"/>
                </a:solidFill>
              </a:rPr>
              <a:t>Govt</a:t>
            </a:r>
            <a:r>
              <a:rPr lang="en-US" sz="1200" dirty="0">
                <a:solidFill>
                  <a:srgbClr val="626469"/>
                </a:solidFill>
              </a:rPr>
              <a:t> of India which might be swing between sorghum and corn depending on political and social factor</a:t>
            </a:r>
            <a:endParaRPr lang="en-US" sz="1200" b="1" kern="0" dirty="0">
              <a:solidFill>
                <a:srgbClr val="626469"/>
              </a:solidFill>
            </a:endParaRPr>
          </a:p>
        </p:txBody>
      </p:sp>
      <p:sp>
        <p:nvSpPr>
          <p:cNvPr id="3088" name="Oval 24"/>
          <p:cNvSpPr>
            <a:spLocks noChangeArrowheads="1"/>
          </p:cNvSpPr>
          <p:nvPr/>
        </p:nvSpPr>
        <p:spPr bwMode="auto">
          <a:xfrm>
            <a:off x="7896226" y="1323979"/>
            <a:ext cx="1104930" cy="485775"/>
          </a:xfrm>
          <a:prstGeom prst="ellipse">
            <a:avLst/>
          </a:prstGeom>
          <a:solidFill>
            <a:srgbClr val="0099CC"/>
          </a:solidFill>
          <a:ln w="12700" algn="ctr">
            <a:solidFill>
              <a:schemeClr val="bg1"/>
            </a:solidFill>
            <a:round/>
            <a:headEnd type="none" w="sm" len="sm"/>
            <a:tailEnd type="none" w="sm" len="sm"/>
          </a:ln>
        </p:spPr>
        <p:txBody>
          <a:bodyPr lIns="0" tIns="0" rIns="0" bIns="0" anchor="ctr"/>
          <a:lstStyle/>
          <a:p>
            <a:pPr algn="ctr" eaLnBrk="0" fontAlgn="base" hangingPunct="0">
              <a:spcBef>
                <a:spcPct val="0"/>
              </a:spcBef>
              <a:spcAft>
                <a:spcPts val="600"/>
              </a:spcAft>
            </a:pPr>
            <a:r>
              <a:rPr lang="en-US" sz="1000" b="1" dirty="0">
                <a:solidFill>
                  <a:srgbClr val="FFFFFF"/>
                </a:solidFill>
              </a:rPr>
              <a:t>CAGR 10-20</a:t>
            </a:r>
            <a:br>
              <a:rPr lang="en-US" sz="1000" b="1" dirty="0">
                <a:solidFill>
                  <a:srgbClr val="FFFFFF"/>
                </a:solidFill>
              </a:rPr>
            </a:br>
            <a:r>
              <a:rPr lang="en-US" sz="1000" b="1" dirty="0">
                <a:solidFill>
                  <a:srgbClr val="FFFFFF"/>
                </a:solidFill>
              </a:rPr>
              <a:t>7.6%</a:t>
            </a:r>
          </a:p>
        </p:txBody>
      </p:sp>
      <p:sp>
        <p:nvSpPr>
          <p:cNvPr id="3083" name="Text Box 24"/>
          <p:cNvSpPr txBox="1">
            <a:spLocks noChangeArrowheads="1"/>
          </p:cNvSpPr>
          <p:nvPr/>
        </p:nvSpPr>
        <p:spPr bwMode="auto">
          <a:xfrm>
            <a:off x="214313" y="2174881"/>
            <a:ext cx="703262" cy="276225"/>
          </a:xfrm>
          <a:prstGeom prst="rect">
            <a:avLst/>
          </a:prstGeom>
          <a:noFill/>
          <a:ln w="12700">
            <a:noFill/>
            <a:miter lim="800000"/>
            <a:headEnd type="none" w="sm" len="sm"/>
            <a:tailEnd type="none" w="sm" len="sm"/>
          </a:ln>
        </p:spPr>
        <p:txBody>
          <a:bodyPr>
            <a:spAutoFit/>
          </a:bodyPr>
          <a:lstStyle/>
          <a:p>
            <a:pPr eaLnBrk="0" fontAlgn="base" hangingPunct="0">
              <a:spcBef>
                <a:spcPct val="50000"/>
              </a:spcBef>
              <a:spcAft>
                <a:spcPts val="600"/>
              </a:spcAft>
            </a:pPr>
            <a:r>
              <a:rPr lang="en-US" sz="1200" b="1" dirty="0">
                <a:solidFill>
                  <a:srgbClr val="626469"/>
                </a:solidFill>
              </a:rPr>
              <a:t>Food</a:t>
            </a:r>
          </a:p>
        </p:txBody>
      </p:sp>
      <p:sp>
        <p:nvSpPr>
          <p:cNvPr id="3086" name="Oval 28"/>
          <p:cNvSpPr>
            <a:spLocks noChangeArrowheads="1"/>
          </p:cNvSpPr>
          <p:nvPr/>
        </p:nvSpPr>
        <p:spPr bwMode="auto">
          <a:xfrm>
            <a:off x="7931172" y="1925642"/>
            <a:ext cx="1069984" cy="477837"/>
          </a:xfrm>
          <a:prstGeom prst="ellipse">
            <a:avLst/>
          </a:prstGeom>
          <a:solidFill>
            <a:schemeClr val="accent2"/>
          </a:solidFill>
          <a:ln w="12700" algn="ctr">
            <a:solidFill>
              <a:schemeClr val="bg1"/>
            </a:solidFill>
            <a:round/>
            <a:headEnd type="none" w="sm" len="sm"/>
            <a:tailEnd type="none" w="sm" len="sm"/>
          </a:ln>
        </p:spPr>
        <p:txBody>
          <a:bodyPr lIns="0" tIns="0" rIns="0" bIns="0" anchor="ctr"/>
          <a:lstStyle/>
          <a:p>
            <a:pPr algn="ctr" eaLnBrk="0" fontAlgn="base" hangingPunct="0">
              <a:spcBef>
                <a:spcPct val="0"/>
              </a:spcBef>
              <a:spcAft>
                <a:spcPts val="600"/>
              </a:spcAft>
            </a:pPr>
            <a:r>
              <a:rPr lang="en-US" sz="1000" b="1" dirty="0">
                <a:solidFill>
                  <a:srgbClr val="FFFFFF"/>
                </a:solidFill>
              </a:rPr>
              <a:t>CAGR 10-20</a:t>
            </a:r>
            <a:br>
              <a:rPr lang="en-US" sz="1000" b="1" dirty="0">
                <a:solidFill>
                  <a:srgbClr val="FFFFFF"/>
                </a:solidFill>
              </a:rPr>
            </a:br>
            <a:r>
              <a:rPr lang="en-US" sz="1000" b="1" dirty="0">
                <a:solidFill>
                  <a:srgbClr val="FFFFFF"/>
                </a:solidFill>
              </a:rPr>
              <a:t>3.4%</a:t>
            </a:r>
          </a:p>
        </p:txBody>
      </p:sp>
      <p:sp>
        <p:nvSpPr>
          <p:cNvPr id="13" name="TextBox 12"/>
          <p:cNvSpPr txBox="1"/>
          <p:nvPr/>
        </p:nvSpPr>
        <p:spPr>
          <a:xfrm>
            <a:off x="687812" y="6324600"/>
            <a:ext cx="6932188" cy="384154"/>
          </a:xfrm>
          <a:prstGeom prst="rect">
            <a:avLst/>
          </a:prstGeom>
          <a:noFill/>
        </p:spPr>
        <p:txBody>
          <a:bodyPr wrap="square" rtlCol="0">
            <a:noAutofit/>
          </a:bodyPr>
          <a:lstStyle/>
          <a:p>
            <a:pPr fontAlgn="base">
              <a:spcAft>
                <a:spcPts val="600"/>
              </a:spcAft>
            </a:pPr>
            <a:r>
              <a:rPr lang="en-US" sz="1200" dirty="0">
                <a:solidFill>
                  <a:srgbClr val="626469"/>
                </a:solidFill>
              </a:rPr>
              <a:t>* 2003 Updates: 17 Starch Units with 3400TPD Corn Consumption in process under production </a:t>
            </a:r>
          </a:p>
        </p:txBody>
      </p:sp>
      <p:sp>
        <p:nvSpPr>
          <p:cNvPr id="14" name="Oval 13"/>
          <p:cNvSpPr/>
          <p:nvPr/>
        </p:nvSpPr>
        <p:spPr bwMode="auto">
          <a:xfrm>
            <a:off x="7858148" y="785794"/>
            <a:ext cx="1119354" cy="420624"/>
          </a:xfrm>
          <a:prstGeom prst="ellipse">
            <a:avLst/>
          </a:prstGeom>
          <a:solidFill>
            <a:schemeClr val="bg1">
              <a:lumMod val="85000"/>
            </a:schemeClr>
          </a:solidFill>
          <a:ln w="12700" cap="flat" cmpd="sng" algn="ctr">
            <a:solidFill>
              <a:schemeClr val="bg1"/>
            </a:solidFill>
            <a:prstDash val="solid"/>
            <a:round/>
            <a:headEnd type="none" w="sm" len="sm"/>
            <a:tailEnd type="none" w="sm" len="sm"/>
          </a:ln>
          <a:effectLst/>
        </p:spPr>
        <p:txBody>
          <a:bodyPr lIns="0" tIns="0" rIns="0" bIns="0"/>
          <a:lstStyle/>
          <a:p>
            <a:pPr algn="ctr" eaLnBrk="0" fontAlgn="base" hangingPunct="0">
              <a:spcBef>
                <a:spcPct val="0"/>
              </a:spcBef>
              <a:spcAft>
                <a:spcPts val="600"/>
              </a:spcAft>
              <a:defRPr/>
            </a:pPr>
            <a:r>
              <a:rPr lang="en-US" sz="1000" b="1" dirty="0">
                <a:solidFill>
                  <a:srgbClr val="626469">
                    <a:lumMod val="75000"/>
                  </a:srgbClr>
                </a:solidFill>
              </a:rPr>
              <a:t>CAGR 10-20</a:t>
            </a:r>
            <a:br>
              <a:rPr lang="en-US" sz="1000" b="1" dirty="0">
                <a:solidFill>
                  <a:srgbClr val="626469">
                    <a:lumMod val="75000"/>
                  </a:srgbClr>
                </a:solidFill>
              </a:rPr>
            </a:br>
            <a:r>
              <a:rPr lang="en-US" sz="1000" b="1" dirty="0">
                <a:solidFill>
                  <a:srgbClr val="626469">
                    <a:lumMod val="75000"/>
                  </a:srgbClr>
                </a:solidFill>
              </a:rPr>
              <a:t>6.3%</a:t>
            </a:r>
          </a:p>
        </p:txBody>
      </p:sp>
      <p:graphicFrame>
        <p:nvGraphicFramePr>
          <p:cNvPr id="15" name="Chart 14"/>
          <p:cNvGraphicFramePr/>
          <p:nvPr/>
        </p:nvGraphicFramePr>
        <p:xfrm>
          <a:off x="457200" y="381000"/>
          <a:ext cx="7620000" cy="2819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95443936"/>
      </p:ext>
    </p:extLst>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8"/>
          <p:cNvSpPr txBox="1">
            <a:spLocks noChangeArrowheads="1"/>
          </p:cNvSpPr>
          <p:nvPr/>
        </p:nvSpPr>
        <p:spPr bwMode="auto">
          <a:xfrm>
            <a:off x="500063" y="6291590"/>
            <a:ext cx="7043737" cy="430887"/>
          </a:xfrm>
          <a:prstGeom prst="rect">
            <a:avLst/>
          </a:prstGeom>
          <a:noFill/>
          <a:ln w="9525">
            <a:noFill/>
            <a:miter lim="800000"/>
            <a:headEnd/>
            <a:tailEnd/>
          </a:ln>
        </p:spPr>
        <p:txBody>
          <a:bodyPr wrap="square">
            <a:spAutoFit/>
          </a:bodyPr>
          <a:lstStyle/>
          <a:p>
            <a:pPr eaLnBrk="0" fontAlgn="base" hangingPunct="0">
              <a:spcBef>
                <a:spcPct val="0"/>
              </a:spcBef>
              <a:spcAft>
                <a:spcPts val="600"/>
              </a:spcAft>
            </a:pPr>
            <a:r>
              <a:rPr lang="en-US" sz="1100" b="1" dirty="0">
                <a:solidFill>
                  <a:srgbClr val="626469"/>
                </a:solidFill>
              </a:rPr>
              <a:t>Source : </a:t>
            </a:r>
            <a:r>
              <a:rPr lang="en-US" sz="1100" dirty="0">
                <a:solidFill>
                  <a:srgbClr val="626469"/>
                </a:solidFill>
              </a:rPr>
              <a:t>Marketable Surplus and Post Harvest Losses of Maize in India, 2002, Directorate of Marketing &amp; Inspection, Nagpur.</a:t>
            </a:r>
          </a:p>
        </p:txBody>
      </p:sp>
      <p:sp>
        <p:nvSpPr>
          <p:cNvPr id="5" name="Title 4"/>
          <p:cNvSpPr>
            <a:spLocks noGrp="1"/>
          </p:cNvSpPr>
          <p:nvPr>
            <p:ph type="title"/>
          </p:nvPr>
        </p:nvSpPr>
        <p:spPr/>
        <p:txBody>
          <a:bodyPr/>
          <a:lstStyle/>
          <a:p>
            <a:r>
              <a:rPr lang="en-US" dirty="0" smtClean="0"/>
              <a:t>Government aim for self sufficiency: requires substantial yield increase with no area expansion</a:t>
            </a:r>
            <a:endParaRPr lang="en-US" dirty="0"/>
          </a:p>
        </p:txBody>
      </p:sp>
      <p:graphicFrame>
        <p:nvGraphicFramePr>
          <p:cNvPr id="4" name="Chart 3"/>
          <p:cNvGraphicFramePr/>
          <p:nvPr/>
        </p:nvGraphicFramePr>
        <p:xfrm>
          <a:off x="1000100" y="1285860"/>
          <a:ext cx="4214842" cy="2786082"/>
        </p:xfrm>
        <a:graphic>
          <a:graphicData uri="http://schemas.openxmlformats.org/drawingml/2006/chart">
            <c:chart xmlns:c="http://schemas.openxmlformats.org/drawingml/2006/chart" xmlns:r="http://schemas.openxmlformats.org/officeDocument/2006/relationships" r:id="rId7"/>
          </a:graphicData>
        </a:graphic>
      </p:graphicFrame>
      <p:sp>
        <p:nvSpPr>
          <p:cNvPr id="6" name="TTVUnitofMeasure_ID_509988"/>
          <p:cNvSpPr txBox="1">
            <a:spLocks noChangeArrowheads="1"/>
          </p:cNvSpPr>
          <p:nvPr>
            <p:custDataLst>
              <p:tags r:id="rId1"/>
            </p:custDataLst>
          </p:nvPr>
        </p:nvSpPr>
        <p:spPr bwMode="gray">
          <a:xfrm>
            <a:off x="98425" y="1130300"/>
            <a:ext cx="3411538" cy="344710"/>
          </a:xfrm>
          <a:prstGeom prst="rect">
            <a:avLst/>
          </a:prstGeom>
          <a:noFill/>
          <a:ln w="9525" algn="ctr">
            <a:noFill/>
            <a:miter lim="800000"/>
            <a:headEnd type="none" w="sm" len="sm"/>
            <a:tailEnd type="none" w="sm" len="sm"/>
          </a:ln>
        </p:spPr>
        <p:txBody>
          <a:bodyPr lIns="0" tIns="0" rIns="0" bIns="0" anchor="ctr">
            <a:spAutoFit/>
          </a:bodyPr>
          <a:lstStyle/>
          <a:p>
            <a:pPr defTabSz="957263" eaLnBrk="0" fontAlgn="base" hangingPunct="0">
              <a:lnSpc>
                <a:spcPct val="80000"/>
              </a:lnSpc>
              <a:spcBef>
                <a:spcPct val="0"/>
              </a:spcBef>
              <a:spcAft>
                <a:spcPts val="600"/>
              </a:spcAft>
              <a:buClr>
                <a:srgbClr val="FFFFFF"/>
              </a:buClr>
              <a:buSzPct val="25000"/>
            </a:pPr>
            <a:r>
              <a:rPr lang="en-US" sz="1400" b="1" dirty="0">
                <a:solidFill>
                  <a:srgbClr val="626469"/>
                </a:solidFill>
              </a:rPr>
              <a:t>Corn Grain Production Forecast*</a:t>
            </a:r>
            <a:br>
              <a:rPr lang="en-US" sz="1400" b="1" dirty="0">
                <a:solidFill>
                  <a:srgbClr val="626469"/>
                </a:solidFill>
              </a:rPr>
            </a:br>
            <a:r>
              <a:rPr lang="en-US" sz="1400" dirty="0">
                <a:solidFill>
                  <a:srgbClr val="626469"/>
                </a:solidFill>
              </a:rPr>
              <a:t>(m MT)</a:t>
            </a:r>
          </a:p>
        </p:txBody>
      </p:sp>
      <p:sp>
        <p:nvSpPr>
          <p:cNvPr id="7" name="Rectangle 11"/>
          <p:cNvSpPr>
            <a:spLocks noChangeArrowheads="1"/>
          </p:cNvSpPr>
          <p:nvPr>
            <p:custDataLst>
              <p:tags r:id="rId2"/>
            </p:custDataLst>
          </p:nvPr>
        </p:nvSpPr>
        <p:spPr bwMode="auto">
          <a:xfrm>
            <a:off x="5715008" y="1214422"/>
            <a:ext cx="3000396" cy="2443178"/>
          </a:xfrm>
          <a:prstGeom prst="rect">
            <a:avLst/>
          </a:prstGeom>
          <a:noFill/>
          <a:ln w="9525">
            <a:noFill/>
            <a:miter lim="800000"/>
            <a:headEnd/>
            <a:tailEnd/>
          </a:ln>
        </p:spPr>
        <p:txBody>
          <a:bodyPr lIns="108000" tIns="72000" rIns="108000" bIns="72000">
            <a:noAutofit/>
          </a:bodyPr>
          <a:lstStyle/>
          <a:p>
            <a:pPr marL="225425" lvl="1" indent="-225425" defTabSz="957263" eaLnBrk="0" fontAlgn="base" hangingPunct="0">
              <a:spcAft>
                <a:spcPts val="600"/>
              </a:spcAft>
              <a:buClr>
                <a:srgbClr val="5F7800"/>
              </a:buClr>
              <a:buFont typeface="Arial" charset="0"/>
              <a:buChar char="●"/>
              <a:defRPr/>
            </a:pPr>
            <a:r>
              <a:rPr lang="en-US" sz="1200" dirty="0">
                <a:solidFill>
                  <a:srgbClr val="626469"/>
                </a:solidFill>
              </a:rPr>
              <a:t>Govt. aim for corn self sufficiency to be </a:t>
            </a:r>
            <a:r>
              <a:rPr lang="en-US" sz="1100" dirty="0">
                <a:solidFill>
                  <a:srgbClr val="626469"/>
                </a:solidFill>
              </a:rPr>
              <a:t>sustained</a:t>
            </a:r>
            <a:endParaRPr lang="en-US" sz="1200" dirty="0">
              <a:solidFill>
                <a:srgbClr val="626469"/>
              </a:solidFill>
            </a:endParaRPr>
          </a:p>
          <a:p>
            <a:pPr marL="225425" lvl="1" indent="-225425" defTabSz="957263" eaLnBrk="0" fontAlgn="base" hangingPunct="0">
              <a:spcAft>
                <a:spcPts val="600"/>
              </a:spcAft>
              <a:buClr>
                <a:srgbClr val="5F7800"/>
              </a:buClr>
              <a:buFont typeface="Arial" charset="0"/>
              <a:buChar char="●"/>
              <a:defRPr/>
            </a:pPr>
            <a:r>
              <a:rPr lang="en-US" sz="1200" dirty="0">
                <a:solidFill>
                  <a:srgbClr val="626469"/>
                </a:solidFill>
              </a:rPr>
              <a:t>Spot opportunity for exports</a:t>
            </a:r>
          </a:p>
          <a:p>
            <a:pPr marL="225425" lvl="1" indent="-225425" defTabSz="957263" eaLnBrk="0" fontAlgn="base" hangingPunct="0">
              <a:spcAft>
                <a:spcPts val="600"/>
              </a:spcAft>
              <a:buClr>
                <a:srgbClr val="5F7800"/>
              </a:buClr>
              <a:buFont typeface="Arial" charset="0"/>
              <a:buChar char="●"/>
              <a:defRPr/>
            </a:pPr>
            <a:r>
              <a:rPr lang="en-US" sz="1200" dirty="0">
                <a:solidFill>
                  <a:srgbClr val="626469"/>
                </a:solidFill>
              </a:rPr>
              <a:t>Area assumed to be flat </a:t>
            </a:r>
          </a:p>
          <a:p>
            <a:pPr marL="225425" lvl="1" indent="-225425" defTabSz="957263" eaLnBrk="0" fontAlgn="base" hangingPunct="0">
              <a:spcAft>
                <a:spcPts val="600"/>
              </a:spcAft>
              <a:buClr>
                <a:srgbClr val="5F7800"/>
              </a:buClr>
              <a:buFont typeface="Arial" charset="0"/>
              <a:buChar char="●"/>
              <a:defRPr/>
            </a:pPr>
            <a:r>
              <a:rPr lang="en-US" sz="1200" dirty="0">
                <a:solidFill>
                  <a:srgbClr val="626469"/>
                </a:solidFill>
              </a:rPr>
              <a:t>OPV to hybrid conversion to increase, hybrid penetration to increase from 54% in 2010 to % in 67% in 2020</a:t>
            </a:r>
          </a:p>
          <a:p>
            <a:pPr marL="225425" lvl="1" indent="-225425" defTabSz="957263" eaLnBrk="0" fontAlgn="base" hangingPunct="0">
              <a:spcAft>
                <a:spcPts val="600"/>
              </a:spcAft>
              <a:buClr>
                <a:srgbClr val="5F7800"/>
              </a:buClr>
              <a:buFont typeface="Arial" charset="0"/>
              <a:buChar char="●"/>
              <a:defRPr/>
            </a:pPr>
            <a:r>
              <a:rPr lang="en-US" sz="1200" dirty="0">
                <a:solidFill>
                  <a:srgbClr val="626469"/>
                </a:solidFill>
              </a:rPr>
              <a:t>Yield must increase by ~2 MT / Ha to meet the demand of 37mn Tons in 2020</a:t>
            </a:r>
          </a:p>
        </p:txBody>
      </p:sp>
      <p:graphicFrame>
        <p:nvGraphicFramePr>
          <p:cNvPr id="8" name="Group 120"/>
          <p:cNvGraphicFramePr>
            <a:graphicFrameLocks noGrp="1"/>
          </p:cNvGraphicFramePr>
          <p:nvPr/>
        </p:nvGraphicFramePr>
        <p:xfrm>
          <a:off x="1140932" y="4270256"/>
          <a:ext cx="3857654" cy="301752"/>
        </p:xfrm>
        <a:graphic>
          <a:graphicData uri="http://schemas.openxmlformats.org/drawingml/2006/table">
            <a:tbl>
              <a:tblPr/>
              <a:tblGrid>
                <a:gridCol w="965259"/>
                <a:gridCol w="965257"/>
                <a:gridCol w="963569"/>
                <a:gridCol w="963569"/>
              </a:tblGrid>
              <a:tr h="301752">
                <a:tc>
                  <a:txBody>
                    <a:bodyPr/>
                    <a:lstStyle/>
                    <a:p>
                      <a:pPr algn="ctr" fontAlgn="b"/>
                      <a:r>
                        <a:rPr lang="en-US" sz="1400" b="0" i="0" u="none" strike="noStrike" dirty="0" smtClean="0">
                          <a:solidFill>
                            <a:schemeClr val="tx1"/>
                          </a:solidFill>
                          <a:latin typeface="Arial" pitchFamily="34" charset="0"/>
                          <a:cs typeface="Arial" pitchFamily="34" charset="0"/>
                        </a:rPr>
                        <a:t>2.5%</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chemeClr val="tx1"/>
                          </a:solidFill>
                          <a:latin typeface="Arial" pitchFamily="34" charset="0"/>
                          <a:cs typeface="Arial" pitchFamily="34" charset="0"/>
                        </a:rPr>
                        <a:t>2.5%</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chemeClr val="tx1"/>
                          </a:solidFill>
                          <a:latin typeface="Arial" pitchFamily="34" charset="0"/>
                          <a:cs typeface="Arial" pitchFamily="34" charset="0"/>
                        </a:rPr>
                        <a:t>2.5%</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chemeClr val="tx1"/>
                          </a:solidFill>
                          <a:latin typeface="Arial" pitchFamily="34" charset="0"/>
                          <a:cs typeface="Arial" pitchFamily="34" charset="0"/>
                        </a:rPr>
                        <a:t>2.5%</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9" name="Text Box 16"/>
          <p:cNvSpPr txBox="1">
            <a:spLocks noChangeArrowheads="1"/>
          </p:cNvSpPr>
          <p:nvPr>
            <p:custDataLst>
              <p:tags r:id="rId3"/>
            </p:custDataLst>
          </p:nvPr>
        </p:nvSpPr>
        <p:spPr bwMode="auto">
          <a:xfrm>
            <a:off x="43974" y="4232148"/>
            <a:ext cx="1012794" cy="338554"/>
          </a:xfrm>
          <a:prstGeom prst="rect">
            <a:avLst/>
          </a:prstGeom>
          <a:noFill/>
          <a:ln w="12700">
            <a:noFill/>
            <a:miter lim="800000"/>
            <a:headEnd type="none" w="sm" len="sm"/>
            <a:tailEnd type="none" w="sm" len="sm"/>
          </a:ln>
        </p:spPr>
        <p:txBody>
          <a:bodyPr wrap="square" lIns="0" tIns="0" rIns="0" bIns="0">
            <a:spAutoFit/>
          </a:bodyPr>
          <a:lstStyle/>
          <a:p>
            <a:pPr eaLnBrk="0" fontAlgn="base" hangingPunct="0">
              <a:spcBef>
                <a:spcPct val="0"/>
              </a:spcBef>
              <a:spcAft>
                <a:spcPts val="600"/>
              </a:spcAft>
            </a:pPr>
            <a:r>
              <a:rPr lang="en-US" sz="1100" dirty="0">
                <a:solidFill>
                  <a:srgbClr val="626469"/>
                </a:solidFill>
              </a:rPr>
              <a:t>Post-harvest losses *</a:t>
            </a:r>
            <a:endParaRPr lang="en-US" sz="1100" i="1" dirty="0">
              <a:solidFill>
                <a:srgbClr val="626469"/>
              </a:solidFill>
            </a:endParaRPr>
          </a:p>
        </p:txBody>
      </p:sp>
      <p:sp>
        <p:nvSpPr>
          <p:cNvPr id="10" name="Oval 9"/>
          <p:cNvSpPr/>
          <p:nvPr/>
        </p:nvSpPr>
        <p:spPr bwMode="auto">
          <a:xfrm>
            <a:off x="4279900" y="925513"/>
            <a:ext cx="958850" cy="508000"/>
          </a:xfrm>
          <a:prstGeom prst="ellipse">
            <a:avLst/>
          </a:prstGeom>
          <a:solidFill>
            <a:schemeClr val="bg1">
              <a:lumMod val="85000"/>
            </a:schemeClr>
          </a:solidFill>
          <a:ln w="12700" cap="flat" cmpd="sng" algn="ctr">
            <a:noFill/>
            <a:prstDash val="solid"/>
            <a:round/>
            <a:headEnd type="none" w="sm" len="sm"/>
            <a:tailEnd type="none" w="sm" len="sm"/>
          </a:ln>
          <a:effectLst/>
        </p:spPr>
        <p:txBody>
          <a:bodyPr lIns="0" tIns="0" rIns="0" bIns="0" anchor="ctr"/>
          <a:lstStyle/>
          <a:p>
            <a:pPr algn="ctr" eaLnBrk="0" fontAlgn="base" hangingPunct="0">
              <a:spcBef>
                <a:spcPct val="0"/>
              </a:spcBef>
              <a:spcAft>
                <a:spcPts val="600"/>
              </a:spcAft>
              <a:defRPr/>
            </a:pPr>
            <a:r>
              <a:rPr lang="en-US" sz="900" b="1" dirty="0">
                <a:solidFill>
                  <a:srgbClr val="626469"/>
                </a:solidFill>
              </a:rPr>
              <a:t>CAGR 10-20</a:t>
            </a:r>
            <a:br>
              <a:rPr lang="en-US" sz="900" b="1" dirty="0">
                <a:solidFill>
                  <a:srgbClr val="626469"/>
                </a:solidFill>
              </a:rPr>
            </a:br>
            <a:r>
              <a:rPr lang="en-US" sz="900" b="1" dirty="0">
                <a:solidFill>
                  <a:srgbClr val="626469"/>
                </a:solidFill>
              </a:rPr>
              <a:t>6.3%</a:t>
            </a:r>
          </a:p>
        </p:txBody>
      </p:sp>
      <p:sp>
        <p:nvSpPr>
          <p:cNvPr id="11" name="Rectangle 10"/>
          <p:cNvSpPr/>
          <p:nvPr/>
        </p:nvSpPr>
        <p:spPr bwMode="auto">
          <a:xfrm>
            <a:off x="30163" y="4786322"/>
            <a:ext cx="5113341" cy="928694"/>
          </a:xfrm>
          <a:prstGeom prst="rect">
            <a:avLst/>
          </a:prstGeom>
          <a:solidFill>
            <a:schemeClr val="bg2">
              <a:lumMod val="20000"/>
              <a:lumOff val="80000"/>
            </a:schemeClr>
          </a:solidFill>
          <a:ln w="6350" cap="flat" cmpd="sng" algn="ctr">
            <a:solidFill>
              <a:srgbClr val="FFC000"/>
            </a:solidFill>
            <a:prstDash val="solid"/>
            <a:round/>
            <a:headEnd type="none" w="sm" len="sm"/>
            <a:tailEnd type="none" w="sm" len="sm"/>
          </a:ln>
          <a:effectLst/>
        </p:spPr>
        <p:txBody>
          <a:bodyPr/>
          <a:lstStyle/>
          <a:p>
            <a:pPr eaLnBrk="0" fontAlgn="base" hangingPunct="0">
              <a:spcBef>
                <a:spcPct val="0"/>
              </a:spcBef>
              <a:spcAft>
                <a:spcPts val="600"/>
              </a:spcAft>
              <a:defRPr/>
            </a:pPr>
            <a:endParaRPr lang="en-US" sz="1000" dirty="0">
              <a:solidFill>
                <a:srgbClr val="626469"/>
              </a:solidFill>
            </a:endParaRPr>
          </a:p>
        </p:txBody>
      </p:sp>
      <p:graphicFrame>
        <p:nvGraphicFramePr>
          <p:cNvPr id="12" name="Group 120"/>
          <p:cNvGraphicFramePr>
            <a:graphicFrameLocks noGrp="1"/>
          </p:cNvGraphicFramePr>
          <p:nvPr/>
        </p:nvGraphicFramePr>
        <p:xfrm>
          <a:off x="1155702" y="4895868"/>
          <a:ext cx="3857654" cy="301752"/>
        </p:xfrm>
        <a:graphic>
          <a:graphicData uri="http://schemas.openxmlformats.org/drawingml/2006/table">
            <a:tbl>
              <a:tblPr/>
              <a:tblGrid>
                <a:gridCol w="965259"/>
                <a:gridCol w="965257"/>
                <a:gridCol w="963569"/>
                <a:gridCol w="963569"/>
              </a:tblGrid>
              <a:tr h="301752">
                <a:tc>
                  <a:txBody>
                    <a:bodyPr/>
                    <a:lstStyle/>
                    <a:p>
                      <a:pPr algn="ctr" fontAlgn="b"/>
                      <a:r>
                        <a:rPr lang="en-US" sz="1400" b="0" i="0" u="none" strike="noStrike" dirty="0" smtClean="0">
                          <a:solidFill>
                            <a:schemeClr val="tx1"/>
                          </a:solidFill>
                          <a:latin typeface="Arial" pitchFamily="34" charset="0"/>
                          <a:cs typeface="Arial" pitchFamily="34" charset="0"/>
                        </a:rPr>
                        <a:t>2.0</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chemeClr val="tx1"/>
                          </a:solidFill>
                          <a:latin typeface="Arial" pitchFamily="34" charset="0"/>
                          <a:cs typeface="Arial" pitchFamily="34" charset="0"/>
                        </a:rPr>
                        <a:t>2.7</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chemeClr val="tx1"/>
                          </a:solidFill>
                          <a:latin typeface="Arial" pitchFamily="34" charset="0"/>
                          <a:cs typeface="Arial" pitchFamily="34" charset="0"/>
                        </a:rPr>
                        <a:t>3.5</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algn="ctr" fontAlgn="b"/>
                      <a:r>
                        <a:rPr lang="en-US" sz="1400" b="0" i="0" u="none" strike="noStrike" dirty="0" smtClean="0">
                          <a:solidFill>
                            <a:schemeClr val="tx1"/>
                          </a:solidFill>
                          <a:latin typeface="Arial" pitchFamily="34" charset="0"/>
                          <a:cs typeface="Arial" pitchFamily="34" charset="0"/>
                        </a:rPr>
                        <a:t>4.6</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60000"/>
                        <a:lumOff val="40000"/>
                      </a:schemeClr>
                    </a:solidFill>
                  </a:tcPr>
                </a:tc>
              </a:tr>
            </a:tbl>
          </a:graphicData>
        </a:graphic>
      </p:graphicFrame>
      <p:sp>
        <p:nvSpPr>
          <p:cNvPr id="13" name="Text Box 16"/>
          <p:cNvSpPr txBox="1">
            <a:spLocks noChangeArrowheads="1"/>
          </p:cNvSpPr>
          <p:nvPr>
            <p:custDataLst>
              <p:tags r:id="rId4"/>
            </p:custDataLst>
          </p:nvPr>
        </p:nvSpPr>
        <p:spPr bwMode="auto">
          <a:xfrm>
            <a:off x="58744" y="4857760"/>
            <a:ext cx="1012794" cy="338554"/>
          </a:xfrm>
          <a:prstGeom prst="rect">
            <a:avLst/>
          </a:prstGeom>
          <a:noFill/>
          <a:ln w="12700">
            <a:noFill/>
            <a:miter lim="800000"/>
            <a:headEnd type="none" w="sm" len="sm"/>
            <a:tailEnd type="none" w="sm" len="sm"/>
          </a:ln>
        </p:spPr>
        <p:txBody>
          <a:bodyPr wrap="square" lIns="0" tIns="0" rIns="0" bIns="0">
            <a:spAutoFit/>
          </a:bodyPr>
          <a:lstStyle/>
          <a:p>
            <a:pPr eaLnBrk="0" fontAlgn="base" hangingPunct="0">
              <a:spcBef>
                <a:spcPct val="0"/>
              </a:spcBef>
              <a:spcAft>
                <a:spcPts val="600"/>
              </a:spcAft>
            </a:pPr>
            <a:r>
              <a:rPr lang="en-US" sz="1100" b="1" dirty="0">
                <a:solidFill>
                  <a:srgbClr val="626469"/>
                </a:solidFill>
              </a:rPr>
              <a:t>Gross farm yield </a:t>
            </a:r>
            <a:r>
              <a:rPr lang="en-US" sz="1100" dirty="0">
                <a:solidFill>
                  <a:srgbClr val="626469"/>
                </a:solidFill>
              </a:rPr>
              <a:t>(t/ha</a:t>
            </a:r>
            <a:r>
              <a:rPr lang="en-US" sz="1100" i="1" dirty="0">
                <a:solidFill>
                  <a:srgbClr val="626469"/>
                </a:solidFill>
              </a:rPr>
              <a:t>)</a:t>
            </a:r>
            <a:endParaRPr lang="en-US" sz="1100" dirty="0">
              <a:solidFill>
                <a:srgbClr val="626469"/>
              </a:solidFill>
            </a:endParaRPr>
          </a:p>
        </p:txBody>
      </p:sp>
      <p:graphicFrame>
        <p:nvGraphicFramePr>
          <p:cNvPr id="14" name="Group 120"/>
          <p:cNvGraphicFramePr>
            <a:graphicFrameLocks noGrp="1"/>
          </p:cNvGraphicFramePr>
          <p:nvPr/>
        </p:nvGraphicFramePr>
        <p:xfrm>
          <a:off x="1168364" y="5341826"/>
          <a:ext cx="3857654" cy="301752"/>
        </p:xfrm>
        <a:graphic>
          <a:graphicData uri="http://schemas.openxmlformats.org/drawingml/2006/table">
            <a:tbl>
              <a:tblPr/>
              <a:tblGrid>
                <a:gridCol w="965259"/>
                <a:gridCol w="965257"/>
                <a:gridCol w="963569"/>
                <a:gridCol w="963569"/>
              </a:tblGrid>
              <a:tr h="301752">
                <a:tc>
                  <a:txBody>
                    <a:bodyPr/>
                    <a:lstStyle/>
                    <a:p>
                      <a:pPr algn="ctr" fontAlgn="b"/>
                      <a:r>
                        <a:rPr lang="en-US" sz="1400" b="0" i="0" u="none" strike="noStrike" dirty="0" smtClean="0">
                          <a:solidFill>
                            <a:schemeClr val="tx1"/>
                          </a:solidFill>
                          <a:latin typeface="Arial" pitchFamily="34" charset="0"/>
                          <a:cs typeface="Arial" pitchFamily="34" charset="0"/>
                        </a:rPr>
                        <a:t>1.9</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chemeClr val="tx1"/>
                          </a:solidFill>
                          <a:latin typeface="Arial" pitchFamily="34" charset="0"/>
                          <a:cs typeface="Arial" pitchFamily="34" charset="0"/>
                        </a:rPr>
                        <a:t>2.6</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algn="ctr" fontAlgn="b"/>
                      <a:r>
                        <a:rPr lang="en-US" sz="1400" b="0" i="0" u="none" strike="noStrike" dirty="0" smtClean="0">
                          <a:solidFill>
                            <a:schemeClr val="tx1"/>
                          </a:solidFill>
                          <a:latin typeface="Arial" pitchFamily="34" charset="0"/>
                          <a:cs typeface="Arial" pitchFamily="34" charset="0"/>
                        </a:rPr>
                        <a:t>3.4</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algn="ctr" fontAlgn="b"/>
                      <a:r>
                        <a:rPr lang="en-US" sz="1400" b="0" i="0" u="none" strike="noStrike" dirty="0" smtClean="0">
                          <a:solidFill>
                            <a:schemeClr val="tx1"/>
                          </a:solidFill>
                          <a:latin typeface="Arial" pitchFamily="34" charset="0"/>
                          <a:cs typeface="Arial" pitchFamily="34" charset="0"/>
                        </a:rPr>
                        <a:t>4.5</a:t>
                      </a:r>
                      <a:endParaRPr lang="en-US" sz="1400" b="0" i="0" u="none" strike="noStrike" dirty="0">
                        <a:solidFill>
                          <a:schemeClr val="tx1"/>
                        </a:solidFill>
                        <a:latin typeface="Arial" pitchFamily="34" charset="0"/>
                        <a:cs typeface="Arial" pitchFamily="34"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lumMod val="60000"/>
                        <a:lumOff val="40000"/>
                      </a:schemeClr>
                    </a:solidFill>
                  </a:tcPr>
                </a:tc>
              </a:tr>
            </a:tbl>
          </a:graphicData>
        </a:graphic>
      </p:graphicFrame>
      <p:sp>
        <p:nvSpPr>
          <p:cNvPr id="15" name="Text Box 16"/>
          <p:cNvSpPr txBox="1">
            <a:spLocks noChangeArrowheads="1"/>
          </p:cNvSpPr>
          <p:nvPr>
            <p:custDataLst>
              <p:tags r:id="rId5"/>
            </p:custDataLst>
          </p:nvPr>
        </p:nvSpPr>
        <p:spPr bwMode="auto">
          <a:xfrm>
            <a:off x="71406" y="5303718"/>
            <a:ext cx="1012794" cy="338554"/>
          </a:xfrm>
          <a:prstGeom prst="rect">
            <a:avLst/>
          </a:prstGeom>
          <a:noFill/>
          <a:ln w="12700">
            <a:noFill/>
            <a:miter lim="800000"/>
            <a:headEnd type="none" w="sm" len="sm"/>
            <a:tailEnd type="none" w="sm" len="sm"/>
          </a:ln>
        </p:spPr>
        <p:txBody>
          <a:bodyPr wrap="square" lIns="0" tIns="0" rIns="0" bIns="0">
            <a:spAutoFit/>
          </a:bodyPr>
          <a:lstStyle/>
          <a:p>
            <a:pPr eaLnBrk="0" fontAlgn="base" hangingPunct="0">
              <a:spcBef>
                <a:spcPct val="0"/>
              </a:spcBef>
              <a:spcAft>
                <a:spcPts val="600"/>
              </a:spcAft>
            </a:pPr>
            <a:r>
              <a:rPr lang="en-US" sz="1100" b="1" dirty="0">
                <a:solidFill>
                  <a:srgbClr val="626469"/>
                </a:solidFill>
              </a:rPr>
              <a:t>Net output yield </a:t>
            </a:r>
            <a:r>
              <a:rPr lang="en-US" sz="1100" dirty="0">
                <a:solidFill>
                  <a:srgbClr val="626469"/>
                </a:solidFill>
              </a:rPr>
              <a:t>(t/ha)</a:t>
            </a:r>
            <a:endParaRPr lang="en-US" sz="1100" i="1" dirty="0">
              <a:solidFill>
                <a:srgbClr val="626469"/>
              </a:solidFill>
            </a:endParaRPr>
          </a:p>
        </p:txBody>
      </p:sp>
      <p:graphicFrame>
        <p:nvGraphicFramePr>
          <p:cNvPr id="16" name="Chart 15"/>
          <p:cNvGraphicFramePr/>
          <p:nvPr/>
        </p:nvGraphicFramePr>
        <p:xfrm>
          <a:off x="5334000" y="4191000"/>
          <a:ext cx="3810000" cy="2024082"/>
        </p:xfrm>
        <a:graphic>
          <a:graphicData uri="http://schemas.openxmlformats.org/drawingml/2006/chart">
            <c:chart xmlns:c="http://schemas.openxmlformats.org/drawingml/2006/chart" xmlns:r="http://schemas.openxmlformats.org/officeDocument/2006/relationships" r:id="rId8"/>
          </a:graphicData>
        </a:graphic>
      </p:graphicFrame>
      <p:sp>
        <p:nvSpPr>
          <p:cNvPr id="17" name="Oval 16"/>
          <p:cNvSpPr/>
          <p:nvPr/>
        </p:nvSpPr>
        <p:spPr bwMode="auto">
          <a:xfrm>
            <a:off x="5334000" y="3733800"/>
            <a:ext cx="1035050" cy="609600"/>
          </a:xfrm>
          <a:prstGeom prst="ellipse">
            <a:avLst/>
          </a:prstGeom>
          <a:solidFill>
            <a:schemeClr val="bg2"/>
          </a:solidFill>
          <a:ln w="12700" cap="flat" cmpd="sng" algn="ctr">
            <a:solidFill>
              <a:schemeClr val="bg2"/>
            </a:solidFill>
            <a:prstDash val="solid"/>
            <a:round/>
            <a:headEnd type="none" w="sm" len="sm"/>
            <a:tailEnd type="none" w="sm" len="sm"/>
          </a:ln>
          <a:effectLst/>
        </p:spPr>
        <p:txBody>
          <a:bodyPr lIns="0" tIns="0" rIns="0" bIns="0" anchor="ctr"/>
          <a:lstStyle/>
          <a:p>
            <a:pPr algn="ctr" eaLnBrk="0" fontAlgn="base" hangingPunct="0">
              <a:spcBef>
                <a:spcPct val="0"/>
              </a:spcBef>
              <a:spcAft>
                <a:spcPts val="600"/>
              </a:spcAft>
              <a:defRPr/>
            </a:pPr>
            <a:r>
              <a:rPr lang="en-US" sz="900" b="1" dirty="0">
                <a:solidFill>
                  <a:srgbClr val="FFFFFF"/>
                </a:solidFill>
              </a:rPr>
              <a:t>Area CAGR 10-20</a:t>
            </a:r>
            <a:br>
              <a:rPr lang="en-US" sz="900" b="1" dirty="0">
                <a:solidFill>
                  <a:srgbClr val="FFFFFF"/>
                </a:solidFill>
              </a:rPr>
            </a:br>
            <a:r>
              <a:rPr lang="en-US" sz="900" b="1" dirty="0">
                <a:solidFill>
                  <a:srgbClr val="FFFFFF"/>
                </a:solidFill>
              </a:rPr>
              <a:t>0.00%</a:t>
            </a:r>
          </a:p>
        </p:txBody>
      </p:sp>
      <p:sp>
        <p:nvSpPr>
          <p:cNvPr id="18" name="Oval 17"/>
          <p:cNvSpPr/>
          <p:nvPr/>
        </p:nvSpPr>
        <p:spPr bwMode="auto">
          <a:xfrm>
            <a:off x="6508750" y="3733800"/>
            <a:ext cx="1035050" cy="609600"/>
          </a:xfrm>
          <a:prstGeom prst="ellipse">
            <a:avLst/>
          </a:prstGeom>
          <a:solidFill>
            <a:schemeClr val="accent2"/>
          </a:solidFill>
          <a:ln w="12700" cap="flat" cmpd="sng" algn="ctr">
            <a:solidFill>
              <a:schemeClr val="accent2"/>
            </a:solidFill>
            <a:prstDash val="solid"/>
            <a:round/>
            <a:headEnd type="none" w="sm" len="sm"/>
            <a:tailEnd type="none" w="sm" len="sm"/>
          </a:ln>
          <a:effectLst/>
        </p:spPr>
        <p:txBody>
          <a:bodyPr lIns="0" tIns="0" rIns="0" bIns="0" anchor="ctr"/>
          <a:lstStyle/>
          <a:p>
            <a:pPr algn="ctr" eaLnBrk="0" fontAlgn="base" hangingPunct="0">
              <a:spcBef>
                <a:spcPct val="0"/>
              </a:spcBef>
              <a:spcAft>
                <a:spcPts val="600"/>
              </a:spcAft>
              <a:defRPr/>
            </a:pPr>
            <a:r>
              <a:rPr lang="en-US" sz="900" b="1" dirty="0">
                <a:solidFill>
                  <a:srgbClr val="FFFFFF"/>
                </a:solidFill>
              </a:rPr>
              <a:t>Yield CAGR 10-20</a:t>
            </a:r>
            <a:br>
              <a:rPr lang="en-US" sz="900" b="1" dirty="0">
                <a:solidFill>
                  <a:srgbClr val="FFFFFF"/>
                </a:solidFill>
              </a:rPr>
            </a:br>
            <a:r>
              <a:rPr lang="en-US" sz="900" b="1" dirty="0">
                <a:solidFill>
                  <a:srgbClr val="FFFFFF"/>
                </a:solidFill>
              </a:rPr>
              <a:t>3.0%</a:t>
            </a:r>
          </a:p>
        </p:txBody>
      </p:sp>
      <p:sp>
        <p:nvSpPr>
          <p:cNvPr id="19" name="TextBox 6"/>
          <p:cNvSpPr txBox="1">
            <a:spLocks noChangeArrowheads="1"/>
          </p:cNvSpPr>
          <p:nvPr/>
        </p:nvSpPr>
        <p:spPr bwMode="auto">
          <a:xfrm>
            <a:off x="5676909" y="857250"/>
            <a:ext cx="2600348" cy="338138"/>
          </a:xfrm>
          <a:prstGeom prst="rect">
            <a:avLst/>
          </a:prstGeom>
          <a:noFill/>
          <a:ln w="9525">
            <a:noFill/>
            <a:miter lim="800000"/>
            <a:headEnd/>
            <a:tailEnd/>
          </a:ln>
        </p:spPr>
        <p:txBody>
          <a:bodyPr wrap="square" anchor="b">
            <a:spAutoFit/>
          </a:bodyPr>
          <a:lstStyle/>
          <a:p>
            <a:pPr fontAlgn="base">
              <a:spcBef>
                <a:spcPct val="0"/>
              </a:spcBef>
              <a:spcAft>
                <a:spcPts val="600"/>
              </a:spcAft>
            </a:pPr>
            <a:r>
              <a:rPr lang="en-US" sz="1600" b="1" dirty="0">
                <a:solidFill>
                  <a:srgbClr val="626469"/>
                </a:solidFill>
              </a:rPr>
              <a:t>Market drivers</a:t>
            </a:r>
            <a:endParaRPr lang="de-CH" sz="1600" b="1" dirty="0">
              <a:solidFill>
                <a:srgbClr val="626469"/>
              </a:solidFill>
            </a:endParaRPr>
          </a:p>
        </p:txBody>
      </p:sp>
      <p:cxnSp>
        <p:nvCxnSpPr>
          <p:cNvPr id="20" name="Straight Connector 52"/>
          <p:cNvCxnSpPr>
            <a:cxnSpLocks noChangeShapeType="1"/>
          </p:cNvCxnSpPr>
          <p:nvPr/>
        </p:nvCxnSpPr>
        <p:spPr bwMode="auto">
          <a:xfrm>
            <a:off x="5715008" y="1214422"/>
            <a:ext cx="3214710" cy="0"/>
          </a:xfrm>
          <a:prstGeom prst="line">
            <a:avLst/>
          </a:prstGeom>
          <a:noFill/>
          <a:ln w="15875" algn="ctr">
            <a:solidFill>
              <a:schemeClr val="tx2"/>
            </a:solidFill>
            <a:round/>
            <a:headEnd type="none" w="sm" len="sm"/>
            <a:tailEnd type="none" w="sm" len="sm"/>
          </a:ln>
        </p:spPr>
      </p:cxnSp>
    </p:spTree>
    <p:extLst>
      <p:ext uri="{BB962C8B-B14F-4D97-AF65-F5344CB8AC3E}">
        <p14:creationId xmlns:p14="http://schemas.microsoft.com/office/powerpoint/2010/main" val="4062357713"/>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Content Placeholder 283" descr="World Map.bmp"/>
          <p:cNvPicPr>
            <a:picLocks noGrp="1" noChangeAspect="1"/>
          </p:cNvPicPr>
          <p:nvPr>
            <p:ph idx="1"/>
          </p:nvPr>
        </p:nvPicPr>
        <p:blipFill>
          <a:blip r:embed="rId34" cstate="print"/>
          <a:stretch>
            <a:fillRect/>
          </a:stretch>
        </p:blipFill>
        <p:spPr bwMode="auto">
          <a:xfrm>
            <a:off x="2493718" y="856136"/>
            <a:ext cx="4156564" cy="3203325"/>
          </a:xfrm>
          <a:prstGeom prst="rect">
            <a:avLst/>
          </a:prstGeom>
          <a:noFill/>
          <a:ln w="9525">
            <a:noFill/>
            <a:miter lim="800000"/>
            <a:headEnd/>
            <a:tailEnd/>
          </a:ln>
        </p:spPr>
      </p:pic>
      <p:sp>
        <p:nvSpPr>
          <p:cNvPr id="2" name="Title 1"/>
          <p:cNvSpPr>
            <a:spLocks noGrp="1"/>
          </p:cNvSpPr>
          <p:nvPr>
            <p:ph type="title"/>
          </p:nvPr>
        </p:nvSpPr>
        <p:spPr/>
        <p:txBody>
          <a:bodyPr/>
          <a:lstStyle/>
          <a:p>
            <a:r>
              <a:rPr lang="de-CH" dirty="0" smtClean="0"/>
              <a:t>Corn: Wide differences in technology use</a:t>
            </a:r>
            <a:endParaRPr lang="de-CH" dirty="0"/>
          </a:p>
        </p:txBody>
      </p:sp>
      <p:sp>
        <p:nvSpPr>
          <p:cNvPr id="226" name="Oval 225"/>
          <p:cNvSpPr>
            <a:spLocks noChangeAspect="1"/>
          </p:cNvSpPr>
          <p:nvPr>
            <p:custDataLst>
              <p:tags r:id="rId1"/>
            </p:custDataLst>
          </p:nvPr>
        </p:nvSpPr>
        <p:spPr bwMode="auto">
          <a:xfrm>
            <a:off x="2530502" y="1439457"/>
            <a:ext cx="720000" cy="960000"/>
          </a:xfrm>
          <a:prstGeom prst="ellipse">
            <a:avLst/>
          </a:prstGeom>
          <a:solidFill>
            <a:schemeClr val="accent2"/>
          </a:solidFill>
          <a:ln w="6350" cap="flat" cmpd="sng" algn="ctr">
            <a:solidFill>
              <a:srgbClr val="C6D000"/>
            </a:solidFill>
            <a:prstDash val="solid"/>
            <a:round/>
            <a:headEnd type="none" w="sm" len="sm"/>
            <a:tailEnd type="none" w="sm" len="sm"/>
          </a:ln>
          <a:effectLst/>
        </p:spPr>
        <p:txBody>
          <a:bodyPr vert="horz" wrap="none" lIns="0" tIns="45720" rIns="0" bIns="45720" numCol="1" rtlCol="0" anchor="ctr" anchorCtr="1" compatLnSpc="1">
            <a:prstTxWarp prst="textNoShape">
              <a:avLst/>
            </a:prstTxWarp>
          </a:bodyPr>
          <a:lstStyle/>
          <a:p>
            <a:pPr algn="ctr" eaLnBrk="0" hangingPunct="0">
              <a:spcAft>
                <a:spcPts val="600"/>
              </a:spcAft>
            </a:pPr>
            <a:r>
              <a:rPr lang="en-GB" sz="1100" b="1" dirty="0" smtClean="0">
                <a:solidFill>
                  <a:srgbClr val="FFFFFF"/>
                </a:solidFill>
              </a:rPr>
              <a:t>North</a:t>
            </a:r>
            <a:br>
              <a:rPr lang="en-GB" sz="1100" b="1" dirty="0" smtClean="0">
                <a:solidFill>
                  <a:srgbClr val="FFFFFF"/>
                </a:solidFill>
              </a:rPr>
            </a:br>
            <a:r>
              <a:rPr lang="en-GB" sz="1100" b="1" dirty="0" smtClean="0">
                <a:solidFill>
                  <a:srgbClr val="FFFFFF"/>
                </a:solidFill>
              </a:rPr>
              <a:t>America</a:t>
            </a:r>
            <a:br>
              <a:rPr lang="en-GB" sz="1100" b="1" dirty="0" smtClean="0">
                <a:solidFill>
                  <a:srgbClr val="FFFFFF"/>
                </a:solidFill>
              </a:rPr>
            </a:br>
            <a:r>
              <a:rPr lang="en-GB" sz="1100" b="1" dirty="0" smtClean="0">
                <a:solidFill>
                  <a:srgbClr val="FFFFFF"/>
                </a:solidFill>
              </a:rPr>
              <a:t>34 Mha</a:t>
            </a:r>
          </a:p>
        </p:txBody>
      </p:sp>
      <p:sp>
        <p:nvSpPr>
          <p:cNvPr id="228" name="Oval 227"/>
          <p:cNvSpPr>
            <a:spLocks noChangeAspect="1"/>
          </p:cNvSpPr>
          <p:nvPr>
            <p:custDataLst>
              <p:tags r:id="rId2"/>
            </p:custDataLst>
          </p:nvPr>
        </p:nvSpPr>
        <p:spPr bwMode="auto">
          <a:xfrm>
            <a:off x="3627161" y="2557575"/>
            <a:ext cx="540000" cy="720000"/>
          </a:xfrm>
          <a:prstGeom prst="ellipse">
            <a:avLst/>
          </a:prstGeom>
          <a:solidFill>
            <a:schemeClr val="accent3"/>
          </a:solidFill>
          <a:ln w="6350" cap="flat" cmpd="sng" algn="ctr">
            <a:solidFill>
              <a:schemeClr val="accent3"/>
            </a:solidFill>
            <a:prstDash val="solid"/>
            <a:round/>
            <a:headEnd type="none" w="sm" len="sm"/>
            <a:tailEnd type="none" w="sm" len="sm"/>
          </a:ln>
          <a:effectLst/>
        </p:spPr>
        <p:txBody>
          <a:bodyPr vert="horz" wrap="none" lIns="0" tIns="45720" rIns="0" bIns="45720" numCol="1" rtlCol="0" anchor="ctr" anchorCtr="1" compatLnSpc="1">
            <a:prstTxWarp prst="textNoShape">
              <a:avLst/>
            </a:prstTxWarp>
          </a:bodyPr>
          <a:lstStyle/>
          <a:p>
            <a:pPr algn="ctr" eaLnBrk="0" hangingPunct="0">
              <a:spcAft>
                <a:spcPts val="600"/>
              </a:spcAft>
            </a:pPr>
            <a:r>
              <a:rPr lang="en-GB" sz="1100" b="1" dirty="0" smtClean="0">
                <a:solidFill>
                  <a:srgbClr val="FFFFFF"/>
                </a:solidFill>
              </a:rPr>
              <a:t>Brazil</a:t>
            </a:r>
            <a:br>
              <a:rPr lang="en-GB" sz="1100" b="1" dirty="0" smtClean="0">
                <a:solidFill>
                  <a:srgbClr val="FFFFFF"/>
                </a:solidFill>
              </a:rPr>
            </a:br>
            <a:r>
              <a:rPr lang="en-GB" sz="1100" b="1" dirty="0" smtClean="0">
                <a:solidFill>
                  <a:srgbClr val="FFFFFF"/>
                </a:solidFill>
              </a:rPr>
              <a:t>13 Mha</a:t>
            </a:r>
          </a:p>
        </p:txBody>
      </p:sp>
      <p:sp>
        <p:nvSpPr>
          <p:cNvPr id="232" name="Oval 231"/>
          <p:cNvSpPr>
            <a:spLocks noChangeAspect="1"/>
          </p:cNvSpPr>
          <p:nvPr>
            <p:custDataLst>
              <p:tags r:id="rId3"/>
            </p:custDataLst>
          </p:nvPr>
        </p:nvSpPr>
        <p:spPr bwMode="auto">
          <a:xfrm>
            <a:off x="5740655" y="1699691"/>
            <a:ext cx="648000" cy="864000"/>
          </a:xfrm>
          <a:prstGeom prst="ellipse">
            <a:avLst/>
          </a:prstGeom>
          <a:solidFill>
            <a:schemeClr val="bg2"/>
          </a:solidFill>
          <a:ln w="6350" cap="flat" cmpd="sng" algn="ctr">
            <a:solidFill>
              <a:schemeClr val="bg2"/>
            </a:solidFill>
            <a:prstDash val="solid"/>
            <a:round/>
            <a:headEnd type="none" w="sm" len="sm"/>
            <a:tailEnd type="none" w="sm" len="sm"/>
          </a:ln>
          <a:effectLst/>
        </p:spPr>
        <p:txBody>
          <a:bodyPr vert="horz" wrap="none" lIns="0" tIns="45720" rIns="0" bIns="45720" numCol="1" rtlCol="0" anchor="ctr" anchorCtr="1" compatLnSpc="1">
            <a:prstTxWarp prst="textNoShape">
              <a:avLst/>
            </a:prstTxWarp>
          </a:bodyPr>
          <a:lstStyle/>
          <a:p>
            <a:pPr algn="ctr" eaLnBrk="0" hangingPunct="0">
              <a:spcAft>
                <a:spcPts val="600"/>
              </a:spcAft>
            </a:pPr>
            <a:r>
              <a:rPr lang="en-GB" sz="1100" b="1" dirty="0" smtClean="0">
                <a:solidFill>
                  <a:srgbClr val="FFFFFF"/>
                </a:solidFill>
              </a:rPr>
              <a:t>China</a:t>
            </a:r>
            <a:br>
              <a:rPr lang="en-GB" sz="1100" b="1" dirty="0" smtClean="0">
                <a:solidFill>
                  <a:srgbClr val="FFFFFF"/>
                </a:solidFill>
              </a:rPr>
            </a:br>
            <a:r>
              <a:rPr lang="en-GB" sz="1100" b="1" dirty="0" smtClean="0">
                <a:solidFill>
                  <a:srgbClr val="FFFFFF"/>
                </a:solidFill>
              </a:rPr>
              <a:t>32 Mha</a:t>
            </a:r>
          </a:p>
        </p:txBody>
      </p:sp>
      <p:sp>
        <p:nvSpPr>
          <p:cNvPr id="234" name="Oval 233"/>
          <p:cNvSpPr>
            <a:spLocks noChangeAspect="1"/>
          </p:cNvSpPr>
          <p:nvPr>
            <p:custDataLst>
              <p:tags r:id="rId4"/>
            </p:custDataLst>
          </p:nvPr>
        </p:nvSpPr>
        <p:spPr bwMode="auto">
          <a:xfrm>
            <a:off x="4288374" y="1430355"/>
            <a:ext cx="504000" cy="672000"/>
          </a:xfrm>
          <a:prstGeom prst="ellipse">
            <a:avLst/>
          </a:prstGeom>
          <a:solidFill>
            <a:schemeClr val="accent1"/>
          </a:solidFill>
          <a:ln w="6350" cap="flat" cmpd="sng" algn="ctr">
            <a:solidFill>
              <a:schemeClr val="accent1"/>
            </a:solidFill>
            <a:prstDash val="solid"/>
            <a:round/>
            <a:headEnd type="none" w="sm" len="sm"/>
            <a:tailEnd type="none" w="sm" len="sm"/>
          </a:ln>
          <a:effectLst/>
        </p:spPr>
        <p:txBody>
          <a:bodyPr vert="horz" wrap="none" lIns="0" tIns="45720" rIns="0" bIns="45720" numCol="1" rtlCol="0" anchor="ctr" anchorCtr="1" compatLnSpc="1">
            <a:prstTxWarp prst="textNoShape">
              <a:avLst/>
            </a:prstTxWarp>
          </a:bodyPr>
          <a:lstStyle/>
          <a:p>
            <a:pPr algn="ctr" eaLnBrk="0" hangingPunct="0">
              <a:spcAft>
                <a:spcPts val="600"/>
              </a:spcAft>
            </a:pPr>
            <a:r>
              <a:rPr lang="en-GB" sz="1100" b="1" dirty="0" smtClean="0">
                <a:solidFill>
                  <a:srgbClr val="FFFFFF"/>
                </a:solidFill>
              </a:rPr>
              <a:t>EU-27</a:t>
            </a:r>
            <a:br>
              <a:rPr lang="en-GB" sz="1100" b="1" dirty="0" smtClean="0">
                <a:solidFill>
                  <a:srgbClr val="FFFFFF"/>
                </a:solidFill>
              </a:rPr>
            </a:br>
            <a:r>
              <a:rPr lang="en-GB" sz="1100" b="1" dirty="0" smtClean="0">
                <a:solidFill>
                  <a:srgbClr val="FFFFFF"/>
                </a:solidFill>
              </a:rPr>
              <a:t>8 Mha</a:t>
            </a:r>
          </a:p>
        </p:txBody>
      </p:sp>
      <p:sp>
        <p:nvSpPr>
          <p:cNvPr id="236" name="Oval 235"/>
          <p:cNvSpPr>
            <a:spLocks noChangeAspect="1"/>
          </p:cNvSpPr>
          <p:nvPr>
            <p:custDataLst>
              <p:tags r:id="rId5"/>
            </p:custDataLst>
          </p:nvPr>
        </p:nvSpPr>
        <p:spPr bwMode="auto">
          <a:xfrm>
            <a:off x="4823634" y="1405684"/>
            <a:ext cx="414000" cy="552000"/>
          </a:xfrm>
          <a:prstGeom prst="ellipse">
            <a:avLst/>
          </a:prstGeom>
          <a:solidFill>
            <a:schemeClr val="accent1"/>
          </a:solidFill>
          <a:ln w="6350" cap="flat" cmpd="sng" algn="ctr">
            <a:solidFill>
              <a:schemeClr val="accent1"/>
            </a:solidFill>
            <a:prstDash val="solid"/>
            <a:round/>
            <a:headEnd type="none" w="sm" len="sm"/>
            <a:tailEnd type="none" w="sm" len="sm"/>
          </a:ln>
          <a:effectLst/>
        </p:spPr>
        <p:txBody>
          <a:bodyPr vert="horz" wrap="none" lIns="0" tIns="45720" rIns="0" bIns="45720" numCol="1" rtlCol="0" anchor="ctr" anchorCtr="1" compatLnSpc="1">
            <a:prstTxWarp prst="textNoShape">
              <a:avLst/>
            </a:prstTxWarp>
          </a:bodyPr>
          <a:lstStyle/>
          <a:p>
            <a:pPr algn="ctr" eaLnBrk="0" hangingPunct="0">
              <a:spcAft>
                <a:spcPts val="600"/>
              </a:spcAft>
            </a:pPr>
            <a:r>
              <a:rPr lang="en-GB" sz="900" b="1" dirty="0" smtClean="0">
                <a:solidFill>
                  <a:srgbClr val="FFFFFF"/>
                </a:solidFill>
              </a:rPr>
              <a:t>CIS</a:t>
            </a:r>
            <a:br>
              <a:rPr lang="en-GB" sz="900" b="1" dirty="0" smtClean="0">
                <a:solidFill>
                  <a:srgbClr val="FFFFFF"/>
                </a:solidFill>
              </a:rPr>
            </a:br>
            <a:r>
              <a:rPr lang="en-GB" sz="900" b="1" dirty="0" smtClean="0">
                <a:solidFill>
                  <a:srgbClr val="FFFFFF"/>
                </a:solidFill>
              </a:rPr>
              <a:t>4 Mha</a:t>
            </a:r>
          </a:p>
        </p:txBody>
      </p:sp>
      <p:sp>
        <p:nvSpPr>
          <p:cNvPr id="238" name="Oval 237"/>
          <p:cNvSpPr>
            <a:spLocks/>
          </p:cNvSpPr>
          <p:nvPr>
            <p:custDataLst>
              <p:tags r:id="rId6"/>
            </p:custDataLst>
          </p:nvPr>
        </p:nvSpPr>
        <p:spPr bwMode="auto">
          <a:xfrm>
            <a:off x="5428558" y="2376559"/>
            <a:ext cx="468000" cy="624000"/>
          </a:xfrm>
          <a:prstGeom prst="ellipse">
            <a:avLst/>
          </a:prstGeom>
          <a:solidFill>
            <a:schemeClr val="bg2"/>
          </a:solidFill>
          <a:ln w="6350" cap="flat" cmpd="sng" algn="ctr">
            <a:solidFill>
              <a:schemeClr val="bg2"/>
            </a:solidFill>
            <a:prstDash val="solid"/>
            <a:round/>
            <a:headEnd type="none" w="sm" len="sm"/>
            <a:tailEnd type="none" w="sm" len="sm"/>
          </a:ln>
          <a:effectLst/>
        </p:spPr>
        <p:txBody>
          <a:bodyPr vert="horz" wrap="none" lIns="0" tIns="45720" rIns="0" bIns="45720" numCol="1" rtlCol="0" anchor="ctr" anchorCtr="1" compatLnSpc="1">
            <a:prstTxWarp prst="textNoShape">
              <a:avLst/>
            </a:prstTxWarp>
          </a:bodyPr>
          <a:lstStyle/>
          <a:p>
            <a:pPr algn="ctr" eaLnBrk="0" hangingPunct="0">
              <a:spcAft>
                <a:spcPts val="600"/>
              </a:spcAft>
            </a:pPr>
            <a:r>
              <a:rPr lang="en-GB" sz="900" b="1" dirty="0" smtClean="0">
                <a:solidFill>
                  <a:srgbClr val="FFFFFF"/>
                </a:solidFill>
              </a:rPr>
              <a:t>INIDA</a:t>
            </a:r>
            <a:r>
              <a:rPr lang="en-GB" sz="900" b="1" dirty="0" smtClean="0">
                <a:solidFill>
                  <a:srgbClr val="FFFFFF"/>
                </a:solidFill>
              </a:rPr>
              <a:t/>
            </a:r>
            <a:br>
              <a:rPr lang="en-GB" sz="900" b="1" dirty="0" smtClean="0">
                <a:solidFill>
                  <a:srgbClr val="FFFFFF"/>
                </a:solidFill>
              </a:rPr>
            </a:br>
            <a:r>
              <a:rPr lang="en-GB" sz="900" b="1" dirty="0" smtClean="0">
                <a:solidFill>
                  <a:srgbClr val="FFFFFF"/>
                </a:solidFill>
              </a:rPr>
              <a:t>9 </a:t>
            </a:r>
            <a:r>
              <a:rPr lang="en-GB" sz="900" b="1" dirty="0" err="1" smtClean="0">
                <a:solidFill>
                  <a:srgbClr val="FFFFFF"/>
                </a:solidFill>
              </a:rPr>
              <a:t>Mha</a:t>
            </a:r>
            <a:endParaRPr lang="en-GB" sz="900" b="1" dirty="0" smtClean="0">
              <a:solidFill>
                <a:srgbClr val="FFFFFF"/>
              </a:solidFill>
            </a:endParaRPr>
          </a:p>
        </p:txBody>
      </p:sp>
      <p:sp>
        <p:nvSpPr>
          <p:cNvPr id="230" name="Oval 229"/>
          <p:cNvSpPr>
            <a:spLocks noChangeAspect="1"/>
          </p:cNvSpPr>
          <p:nvPr>
            <p:custDataLst>
              <p:tags r:id="rId7"/>
            </p:custDataLst>
          </p:nvPr>
        </p:nvSpPr>
        <p:spPr bwMode="auto">
          <a:xfrm>
            <a:off x="3823226" y="3303191"/>
            <a:ext cx="396000" cy="528000"/>
          </a:xfrm>
          <a:prstGeom prst="ellipse">
            <a:avLst/>
          </a:prstGeom>
          <a:solidFill>
            <a:schemeClr val="accent3"/>
          </a:solidFill>
          <a:ln w="6350" cap="flat" cmpd="sng" algn="ctr">
            <a:solidFill>
              <a:schemeClr val="accent3"/>
            </a:solidFill>
            <a:prstDash val="solid"/>
            <a:round/>
            <a:headEnd type="none" w="sm" len="sm"/>
            <a:tailEnd type="none" w="sm" len="sm"/>
          </a:ln>
          <a:effectLst/>
        </p:spPr>
        <p:txBody>
          <a:bodyPr vert="horz" wrap="none" lIns="0" tIns="45720" rIns="0" bIns="45720" numCol="1" rtlCol="0" anchor="ctr" anchorCtr="1" compatLnSpc="1">
            <a:prstTxWarp prst="textNoShape">
              <a:avLst/>
            </a:prstTxWarp>
          </a:bodyPr>
          <a:lstStyle/>
          <a:p>
            <a:pPr algn="ctr" eaLnBrk="0" hangingPunct="0">
              <a:spcAft>
                <a:spcPts val="600"/>
              </a:spcAft>
            </a:pPr>
            <a:r>
              <a:rPr lang="en-GB" sz="900" b="1" dirty="0" smtClean="0">
                <a:solidFill>
                  <a:srgbClr val="FFFFFF"/>
                </a:solidFill>
              </a:rPr>
              <a:t>Arg</a:t>
            </a:r>
            <a:br>
              <a:rPr lang="en-GB" sz="900" b="1" dirty="0" smtClean="0">
                <a:solidFill>
                  <a:srgbClr val="FFFFFF"/>
                </a:solidFill>
              </a:rPr>
            </a:br>
            <a:r>
              <a:rPr lang="en-GB" sz="900" b="1" dirty="0" smtClean="0">
                <a:solidFill>
                  <a:srgbClr val="FFFFFF"/>
                </a:solidFill>
              </a:rPr>
              <a:t>3 Mha</a:t>
            </a:r>
          </a:p>
        </p:txBody>
      </p:sp>
      <p:sp>
        <p:nvSpPr>
          <p:cNvPr id="240" name="Text Box 7"/>
          <p:cNvSpPr txBox="1">
            <a:spLocks noChangeArrowheads="1"/>
          </p:cNvSpPr>
          <p:nvPr/>
        </p:nvSpPr>
        <p:spPr bwMode="auto">
          <a:xfrm>
            <a:off x="569831" y="3738895"/>
            <a:ext cx="4227446" cy="2277547"/>
          </a:xfrm>
          <a:prstGeom prst="rect">
            <a:avLst/>
          </a:prstGeom>
          <a:noFill/>
          <a:ln w="9525" algn="ctr">
            <a:noFill/>
            <a:miter lim="800000"/>
            <a:headEnd/>
            <a:tailEnd/>
          </a:ln>
        </p:spPr>
        <p:txBody>
          <a:bodyPr wrap="square">
            <a:spAutoFit/>
          </a:bodyPr>
          <a:lstStyle/>
          <a:p>
            <a:pPr marL="273050" indent="-273050">
              <a:spcBef>
                <a:spcPts val="300"/>
              </a:spcBef>
              <a:spcAft>
                <a:spcPts val="300"/>
              </a:spcAft>
              <a:buClr>
                <a:srgbClr val="5F7800"/>
              </a:buClr>
            </a:pPr>
            <a:r>
              <a:rPr lang="en-GB" sz="1600" b="1" dirty="0" smtClean="0">
                <a:solidFill>
                  <a:srgbClr val="626469"/>
                </a:solidFill>
              </a:rPr>
              <a:t>Technification status:</a:t>
            </a:r>
          </a:p>
          <a:p>
            <a:pPr marL="622300" indent="-265113">
              <a:spcBef>
                <a:spcPts val="300"/>
              </a:spcBef>
              <a:spcAft>
                <a:spcPts val="300"/>
              </a:spcAft>
              <a:buClr>
                <a:srgbClr val="5F7800"/>
              </a:buClr>
              <a:buFont typeface="Wingdings 2" pitchFamily="18" charset="2"/>
              <a:buChar char=""/>
            </a:pPr>
            <a:r>
              <a:rPr lang="en-GB" sz="1600" dirty="0" smtClean="0">
                <a:solidFill>
                  <a:srgbClr val="626469"/>
                </a:solidFill>
              </a:rPr>
              <a:t>Mechanization</a:t>
            </a:r>
          </a:p>
          <a:p>
            <a:pPr marL="622300" indent="-265113">
              <a:spcBef>
                <a:spcPts val="300"/>
              </a:spcBef>
              <a:spcAft>
                <a:spcPts val="300"/>
              </a:spcAft>
              <a:buClr>
                <a:srgbClr val="5F7800"/>
              </a:buClr>
              <a:buFont typeface="Wingdings 2" pitchFamily="18" charset="2"/>
              <a:buChar char=""/>
            </a:pPr>
            <a:r>
              <a:rPr lang="en-GB" sz="1600" dirty="0" smtClean="0">
                <a:solidFill>
                  <a:srgbClr val="626469"/>
                </a:solidFill>
              </a:rPr>
              <a:t>Genetics and molecular breeding</a:t>
            </a:r>
          </a:p>
          <a:p>
            <a:pPr marL="622300" indent="-265113">
              <a:spcBef>
                <a:spcPts val="300"/>
              </a:spcBef>
              <a:spcAft>
                <a:spcPts val="300"/>
              </a:spcAft>
              <a:buClr>
                <a:srgbClr val="5F7800"/>
              </a:buClr>
              <a:buFont typeface="Wingdings 2" pitchFamily="18" charset="2"/>
              <a:buChar char=""/>
            </a:pPr>
            <a:r>
              <a:rPr lang="en-GB" sz="1600" dirty="0" smtClean="0">
                <a:solidFill>
                  <a:srgbClr val="626469"/>
                </a:solidFill>
              </a:rPr>
              <a:t>GM</a:t>
            </a:r>
          </a:p>
          <a:p>
            <a:pPr marL="622300" indent="-265113">
              <a:spcBef>
                <a:spcPts val="300"/>
              </a:spcBef>
              <a:spcAft>
                <a:spcPts val="300"/>
              </a:spcAft>
              <a:buClr>
                <a:srgbClr val="5F7800"/>
              </a:buClr>
              <a:buFont typeface="Wingdings 2" pitchFamily="18" charset="2"/>
              <a:buChar char=""/>
            </a:pPr>
            <a:r>
              <a:rPr lang="en-GB" sz="1600" dirty="0" smtClean="0">
                <a:solidFill>
                  <a:srgbClr val="626469"/>
                </a:solidFill>
              </a:rPr>
              <a:t>Seed treatment</a:t>
            </a:r>
          </a:p>
          <a:p>
            <a:pPr marL="622300" indent="-265113">
              <a:spcBef>
                <a:spcPts val="300"/>
              </a:spcBef>
              <a:spcAft>
                <a:spcPts val="300"/>
              </a:spcAft>
              <a:buClr>
                <a:srgbClr val="5F7800"/>
              </a:buClr>
              <a:buFont typeface="Wingdings 2" pitchFamily="18" charset="2"/>
              <a:buChar char=""/>
            </a:pPr>
            <a:r>
              <a:rPr lang="en-GB" sz="1600" dirty="0" smtClean="0">
                <a:solidFill>
                  <a:srgbClr val="626469"/>
                </a:solidFill>
              </a:rPr>
              <a:t>Early season weed control</a:t>
            </a:r>
          </a:p>
          <a:p>
            <a:pPr marL="622300" indent="-265113">
              <a:spcBef>
                <a:spcPts val="300"/>
              </a:spcBef>
              <a:spcAft>
                <a:spcPts val="300"/>
              </a:spcAft>
              <a:buClr>
                <a:srgbClr val="5F7800"/>
              </a:buClr>
              <a:buFont typeface="Wingdings 2" pitchFamily="18" charset="2"/>
              <a:buChar char=""/>
            </a:pPr>
            <a:r>
              <a:rPr lang="en-GB" sz="1600" dirty="0" smtClean="0">
                <a:solidFill>
                  <a:srgbClr val="626469"/>
                </a:solidFill>
              </a:rPr>
              <a:t>Abiotic stress control</a:t>
            </a:r>
          </a:p>
        </p:txBody>
      </p:sp>
      <p:grpSp>
        <p:nvGrpSpPr>
          <p:cNvPr id="55" name="Group 54"/>
          <p:cNvGrpSpPr/>
          <p:nvPr/>
        </p:nvGrpSpPr>
        <p:grpSpPr>
          <a:xfrm>
            <a:off x="4524681" y="3994853"/>
            <a:ext cx="4049488" cy="336000"/>
            <a:chOff x="4203330" y="2996140"/>
            <a:chExt cx="4049488" cy="252000"/>
          </a:xfrm>
        </p:grpSpPr>
        <p:cxnSp>
          <p:nvCxnSpPr>
            <p:cNvPr id="250" name="Straight Connector 249"/>
            <p:cNvCxnSpPr/>
            <p:nvPr/>
          </p:nvCxnSpPr>
          <p:spPr bwMode="auto">
            <a:xfrm>
              <a:off x="4203330" y="3122140"/>
              <a:ext cx="4049488" cy="0"/>
            </a:xfrm>
            <a:prstGeom prst="line">
              <a:avLst/>
            </a:prstGeom>
            <a:solidFill>
              <a:schemeClr val="accent2"/>
            </a:solidFill>
            <a:ln w="28575" cap="flat" cmpd="sng" algn="ctr">
              <a:solidFill>
                <a:schemeClr val="bg1">
                  <a:lumMod val="50000"/>
                </a:schemeClr>
              </a:solidFill>
              <a:prstDash val="solid"/>
              <a:round/>
              <a:headEnd type="none" w="sm" len="sm"/>
              <a:tailEnd type="none" w="sm" len="sm"/>
            </a:ln>
            <a:effectLst/>
          </p:spPr>
        </p:cxnSp>
        <p:sp>
          <p:nvSpPr>
            <p:cNvPr id="257" name="Oval 256"/>
            <p:cNvSpPr>
              <a:spLocks noChangeAspect="1"/>
            </p:cNvSpPr>
            <p:nvPr>
              <p:custDataLst>
                <p:tags r:id="rId28"/>
              </p:custDataLst>
            </p:nvPr>
          </p:nvSpPr>
          <p:spPr bwMode="auto">
            <a:xfrm>
              <a:off x="7969786" y="2996140"/>
              <a:ext cx="252000" cy="252000"/>
            </a:xfrm>
            <a:prstGeom prst="ellipse">
              <a:avLst/>
            </a:prstGeom>
            <a:solidFill>
              <a:schemeClr val="accent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64" name="Oval 263"/>
            <p:cNvSpPr>
              <a:spLocks noChangeAspect="1"/>
            </p:cNvSpPr>
            <p:nvPr>
              <p:custDataLst>
                <p:tags r:id="rId29"/>
              </p:custDataLst>
            </p:nvPr>
          </p:nvSpPr>
          <p:spPr bwMode="auto">
            <a:xfrm>
              <a:off x="6951971" y="2996140"/>
              <a:ext cx="252000" cy="252000"/>
            </a:xfrm>
            <a:prstGeom prst="ellipse">
              <a:avLst/>
            </a:prstGeom>
            <a:solidFill>
              <a:schemeClr val="accent3"/>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70" name="Oval 269"/>
            <p:cNvSpPr>
              <a:spLocks noChangeAspect="1"/>
            </p:cNvSpPr>
            <p:nvPr>
              <p:custDataLst>
                <p:tags r:id="rId30"/>
              </p:custDataLst>
            </p:nvPr>
          </p:nvSpPr>
          <p:spPr bwMode="auto">
            <a:xfrm>
              <a:off x="7289428" y="2996140"/>
              <a:ext cx="252000" cy="252000"/>
            </a:xfrm>
            <a:prstGeom prst="ellipse">
              <a:avLst/>
            </a:prstGeom>
            <a:solidFill>
              <a:schemeClr val="accent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76" name="Oval 275"/>
            <p:cNvSpPr>
              <a:spLocks noChangeAspect="1"/>
            </p:cNvSpPr>
            <p:nvPr>
              <p:custDataLst>
                <p:tags r:id="rId31"/>
              </p:custDataLst>
            </p:nvPr>
          </p:nvSpPr>
          <p:spPr bwMode="auto">
            <a:xfrm>
              <a:off x="4649640" y="2996140"/>
              <a:ext cx="252000" cy="252000"/>
            </a:xfrm>
            <a:prstGeom prst="ellipse">
              <a:avLst/>
            </a:prstGeom>
            <a:solidFill>
              <a:schemeClr val="bg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grpSp>
      <p:grpSp>
        <p:nvGrpSpPr>
          <p:cNvPr id="56" name="Group 55"/>
          <p:cNvGrpSpPr/>
          <p:nvPr/>
        </p:nvGrpSpPr>
        <p:grpSpPr>
          <a:xfrm>
            <a:off x="4524681" y="4365548"/>
            <a:ext cx="4049488" cy="336000"/>
            <a:chOff x="4208298" y="3274161"/>
            <a:chExt cx="4049488" cy="252000"/>
          </a:xfrm>
        </p:grpSpPr>
        <p:cxnSp>
          <p:nvCxnSpPr>
            <p:cNvPr id="251" name="Straight Connector 250"/>
            <p:cNvCxnSpPr/>
            <p:nvPr/>
          </p:nvCxnSpPr>
          <p:spPr bwMode="auto">
            <a:xfrm>
              <a:off x="4208298" y="3400161"/>
              <a:ext cx="4049488" cy="0"/>
            </a:xfrm>
            <a:prstGeom prst="line">
              <a:avLst/>
            </a:prstGeom>
            <a:solidFill>
              <a:schemeClr val="accent2"/>
            </a:solidFill>
            <a:ln w="28575" cap="flat" cmpd="sng" algn="ctr">
              <a:solidFill>
                <a:schemeClr val="bg1">
                  <a:lumMod val="50000"/>
                </a:schemeClr>
              </a:solidFill>
              <a:prstDash val="solid"/>
              <a:round/>
              <a:headEnd type="none" w="sm" len="sm"/>
              <a:tailEnd type="none" w="sm" len="sm"/>
            </a:ln>
            <a:effectLst/>
          </p:spPr>
        </p:cxnSp>
        <p:sp>
          <p:nvSpPr>
            <p:cNvPr id="259" name="Oval 258"/>
            <p:cNvSpPr>
              <a:spLocks noChangeAspect="1"/>
            </p:cNvSpPr>
            <p:nvPr>
              <p:custDataLst>
                <p:tags r:id="rId24"/>
              </p:custDataLst>
            </p:nvPr>
          </p:nvSpPr>
          <p:spPr bwMode="auto">
            <a:xfrm>
              <a:off x="7659067" y="3274161"/>
              <a:ext cx="252000" cy="252000"/>
            </a:xfrm>
            <a:prstGeom prst="ellipse">
              <a:avLst/>
            </a:prstGeom>
            <a:solidFill>
              <a:schemeClr val="accent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65" name="Oval 264"/>
            <p:cNvSpPr>
              <a:spLocks noChangeAspect="1"/>
            </p:cNvSpPr>
            <p:nvPr>
              <p:custDataLst>
                <p:tags r:id="rId25"/>
              </p:custDataLst>
            </p:nvPr>
          </p:nvSpPr>
          <p:spPr bwMode="auto">
            <a:xfrm>
              <a:off x="6641248" y="3274161"/>
              <a:ext cx="252000" cy="252000"/>
            </a:xfrm>
            <a:prstGeom prst="ellipse">
              <a:avLst/>
            </a:prstGeom>
            <a:solidFill>
              <a:schemeClr val="accent3"/>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71" name="Oval 270"/>
            <p:cNvSpPr>
              <a:spLocks noChangeAspect="1"/>
            </p:cNvSpPr>
            <p:nvPr>
              <p:custDataLst>
                <p:tags r:id="rId26"/>
              </p:custDataLst>
            </p:nvPr>
          </p:nvSpPr>
          <p:spPr bwMode="auto">
            <a:xfrm>
              <a:off x="6292910" y="3274161"/>
              <a:ext cx="252000" cy="252000"/>
            </a:xfrm>
            <a:prstGeom prst="ellipse">
              <a:avLst/>
            </a:prstGeom>
            <a:solidFill>
              <a:schemeClr val="accent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77" name="Oval 276"/>
            <p:cNvSpPr>
              <a:spLocks noChangeAspect="1"/>
            </p:cNvSpPr>
            <p:nvPr>
              <p:custDataLst>
                <p:tags r:id="rId27"/>
              </p:custDataLst>
            </p:nvPr>
          </p:nvSpPr>
          <p:spPr bwMode="auto">
            <a:xfrm>
              <a:off x="4959409" y="3274161"/>
              <a:ext cx="252000" cy="252000"/>
            </a:xfrm>
            <a:prstGeom prst="ellipse">
              <a:avLst/>
            </a:prstGeom>
            <a:solidFill>
              <a:schemeClr val="bg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grpSp>
      <p:grpSp>
        <p:nvGrpSpPr>
          <p:cNvPr id="57" name="Group 56"/>
          <p:cNvGrpSpPr/>
          <p:nvPr/>
        </p:nvGrpSpPr>
        <p:grpSpPr>
          <a:xfrm>
            <a:off x="4519235" y="4711201"/>
            <a:ext cx="4054934" cy="336000"/>
            <a:chOff x="4186997" y="3523462"/>
            <a:chExt cx="4054934" cy="252000"/>
          </a:xfrm>
        </p:grpSpPr>
        <p:cxnSp>
          <p:nvCxnSpPr>
            <p:cNvPr id="252" name="Straight Connector 251"/>
            <p:cNvCxnSpPr/>
            <p:nvPr/>
          </p:nvCxnSpPr>
          <p:spPr bwMode="auto">
            <a:xfrm>
              <a:off x="4192443" y="3649462"/>
              <a:ext cx="4049488" cy="0"/>
            </a:xfrm>
            <a:prstGeom prst="line">
              <a:avLst/>
            </a:prstGeom>
            <a:solidFill>
              <a:schemeClr val="accent2"/>
            </a:solidFill>
            <a:ln w="28575" cap="flat" cmpd="sng" algn="ctr">
              <a:solidFill>
                <a:schemeClr val="bg1">
                  <a:lumMod val="50000"/>
                </a:schemeClr>
              </a:solidFill>
              <a:prstDash val="solid"/>
              <a:round/>
              <a:headEnd type="none" w="sm" len="sm"/>
              <a:tailEnd type="none" w="sm" len="sm"/>
            </a:ln>
            <a:effectLst/>
          </p:spPr>
        </p:cxnSp>
        <p:sp>
          <p:nvSpPr>
            <p:cNvPr id="260" name="Oval 259"/>
            <p:cNvSpPr>
              <a:spLocks noChangeAspect="1"/>
            </p:cNvSpPr>
            <p:nvPr>
              <p:custDataLst>
                <p:tags r:id="rId20"/>
              </p:custDataLst>
            </p:nvPr>
          </p:nvSpPr>
          <p:spPr bwMode="auto">
            <a:xfrm>
              <a:off x="7969786" y="3523462"/>
              <a:ext cx="252000" cy="252000"/>
            </a:xfrm>
            <a:prstGeom prst="ellipse">
              <a:avLst/>
            </a:prstGeom>
            <a:solidFill>
              <a:schemeClr val="accent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66" name="Oval 265"/>
            <p:cNvSpPr>
              <a:spLocks noChangeAspect="1"/>
            </p:cNvSpPr>
            <p:nvPr>
              <p:custDataLst>
                <p:tags r:id="rId21"/>
              </p:custDataLst>
            </p:nvPr>
          </p:nvSpPr>
          <p:spPr bwMode="auto">
            <a:xfrm>
              <a:off x="6913866" y="3523462"/>
              <a:ext cx="252000" cy="252000"/>
            </a:xfrm>
            <a:prstGeom prst="ellipse">
              <a:avLst/>
            </a:prstGeom>
            <a:solidFill>
              <a:schemeClr val="accent3"/>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72" name="Oval 271"/>
            <p:cNvSpPr>
              <a:spLocks noChangeAspect="1"/>
            </p:cNvSpPr>
            <p:nvPr>
              <p:custDataLst>
                <p:tags r:id="rId22"/>
              </p:custDataLst>
            </p:nvPr>
          </p:nvSpPr>
          <p:spPr bwMode="auto">
            <a:xfrm>
              <a:off x="4186997" y="3523462"/>
              <a:ext cx="252000" cy="252000"/>
            </a:xfrm>
            <a:prstGeom prst="ellipse">
              <a:avLst/>
            </a:prstGeom>
            <a:solidFill>
              <a:schemeClr val="accent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78" name="Oval 277"/>
            <p:cNvSpPr>
              <a:spLocks noChangeAspect="1"/>
            </p:cNvSpPr>
            <p:nvPr>
              <p:custDataLst>
                <p:tags r:id="rId23"/>
              </p:custDataLst>
            </p:nvPr>
          </p:nvSpPr>
          <p:spPr bwMode="auto">
            <a:xfrm>
              <a:off x="5221140" y="3523462"/>
              <a:ext cx="252000" cy="252000"/>
            </a:xfrm>
            <a:prstGeom prst="ellipse">
              <a:avLst/>
            </a:prstGeom>
            <a:solidFill>
              <a:schemeClr val="bg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grpSp>
      <p:grpSp>
        <p:nvGrpSpPr>
          <p:cNvPr id="58" name="Group 57"/>
          <p:cNvGrpSpPr/>
          <p:nvPr/>
        </p:nvGrpSpPr>
        <p:grpSpPr>
          <a:xfrm>
            <a:off x="4524681" y="5074452"/>
            <a:ext cx="4049488" cy="336000"/>
            <a:chOff x="4208298" y="3795900"/>
            <a:chExt cx="4049488" cy="252000"/>
          </a:xfrm>
        </p:grpSpPr>
        <p:cxnSp>
          <p:nvCxnSpPr>
            <p:cNvPr id="253" name="Straight Connector 252"/>
            <p:cNvCxnSpPr/>
            <p:nvPr/>
          </p:nvCxnSpPr>
          <p:spPr bwMode="auto">
            <a:xfrm>
              <a:off x="4208298" y="3921900"/>
              <a:ext cx="4049488" cy="0"/>
            </a:xfrm>
            <a:prstGeom prst="line">
              <a:avLst/>
            </a:prstGeom>
            <a:solidFill>
              <a:schemeClr val="accent2"/>
            </a:solidFill>
            <a:ln w="28575" cap="flat" cmpd="sng" algn="ctr">
              <a:solidFill>
                <a:schemeClr val="bg1">
                  <a:lumMod val="50000"/>
                </a:schemeClr>
              </a:solidFill>
              <a:prstDash val="solid"/>
              <a:round/>
              <a:headEnd type="none" w="sm" len="sm"/>
              <a:tailEnd type="none" w="sm" len="sm"/>
            </a:ln>
            <a:effectLst/>
          </p:spPr>
        </p:cxnSp>
        <p:sp>
          <p:nvSpPr>
            <p:cNvPr id="261" name="Oval 260"/>
            <p:cNvSpPr>
              <a:spLocks noChangeAspect="1"/>
            </p:cNvSpPr>
            <p:nvPr>
              <p:custDataLst>
                <p:tags r:id="rId16"/>
              </p:custDataLst>
            </p:nvPr>
          </p:nvSpPr>
          <p:spPr bwMode="auto">
            <a:xfrm>
              <a:off x="7686283" y="3795900"/>
              <a:ext cx="252000" cy="252000"/>
            </a:xfrm>
            <a:prstGeom prst="ellipse">
              <a:avLst/>
            </a:prstGeom>
            <a:solidFill>
              <a:schemeClr val="accent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67" name="Oval 266"/>
            <p:cNvSpPr>
              <a:spLocks noChangeAspect="1"/>
            </p:cNvSpPr>
            <p:nvPr>
              <p:custDataLst>
                <p:tags r:id="rId17"/>
              </p:custDataLst>
            </p:nvPr>
          </p:nvSpPr>
          <p:spPr bwMode="auto">
            <a:xfrm>
              <a:off x="6924276" y="3795900"/>
              <a:ext cx="252000" cy="252000"/>
            </a:xfrm>
            <a:prstGeom prst="ellipse">
              <a:avLst/>
            </a:prstGeom>
            <a:solidFill>
              <a:schemeClr val="accent3"/>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73" name="Oval 272"/>
            <p:cNvSpPr>
              <a:spLocks noChangeAspect="1"/>
            </p:cNvSpPr>
            <p:nvPr>
              <p:custDataLst>
                <p:tags r:id="rId18"/>
              </p:custDataLst>
            </p:nvPr>
          </p:nvSpPr>
          <p:spPr bwMode="auto">
            <a:xfrm>
              <a:off x="6603153" y="3795900"/>
              <a:ext cx="252000" cy="252000"/>
            </a:xfrm>
            <a:prstGeom prst="ellipse">
              <a:avLst/>
            </a:prstGeom>
            <a:solidFill>
              <a:schemeClr val="accent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79" name="Oval 278"/>
            <p:cNvSpPr>
              <a:spLocks noChangeAspect="1"/>
            </p:cNvSpPr>
            <p:nvPr>
              <p:custDataLst>
                <p:tags r:id="rId19"/>
              </p:custDataLst>
            </p:nvPr>
          </p:nvSpPr>
          <p:spPr bwMode="auto">
            <a:xfrm>
              <a:off x="4943080" y="3795900"/>
              <a:ext cx="252000" cy="252000"/>
            </a:xfrm>
            <a:prstGeom prst="ellipse">
              <a:avLst/>
            </a:prstGeom>
            <a:solidFill>
              <a:schemeClr val="bg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grpSp>
      <p:grpSp>
        <p:nvGrpSpPr>
          <p:cNvPr id="59" name="Group 58"/>
          <p:cNvGrpSpPr/>
          <p:nvPr/>
        </p:nvGrpSpPr>
        <p:grpSpPr>
          <a:xfrm>
            <a:off x="4524681" y="5423593"/>
            <a:ext cx="4049488" cy="336000"/>
            <a:chOff x="4208298" y="4047817"/>
            <a:chExt cx="4049488" cy="252000"/>
          </a:xfrm>
        </p:grpSpPr>
        <p:cxnSp>
          <p:nvCxnSpPr>
            <p:cNvPr id="254" name="Straight Connector 253"/>
            <p:cNvCxnSpPr/>
            <p:nvPr/>
          </p:nvCxnSpPr>
          <p:spPr bwMode="auto">
            <a:xfrm>
              <a:off x="4208298" y="4173817"/>
              <a:ext cx="4049488" cy="0"/>
            </a:xfrm>
            <a:prstGeom prst="line">
              <a:avLst/>
            </a:prstGeom>
            <a:solidFill>
              <a:schemeClr val="accent2"/>
            </a:solidFill>
            <a:ln w="28575" cap="flat" cmpd="sng" algn="ctr">
              <a:solidFill>
                <a:schemeClr val="bg1">
                  <a:lumMod val="50000"/>
                </a:schemeClr>
              </a:solidFill>
              <a:prstDash val="solid"/>
              <a:round/>
              <a:headEnd type="none" w="sm" len="sm"/>
              <a:tailEnd type="none" w="sm" len="sm"/>
            </a:ln>
            <a:effectLst/>
          </p:spPr>
        </p:cxnSp>
        <p:sp>
          <p:nvSpPr>
            <p:cNvPr id="262" name="Oval 261"/>
            <p:cNvSpPr>
              <a:spLocks noChangeAspect="1"/>
            </p:cNvSpPr>
            <p:nvPr>
              <p:custDataLst>
                <p:tags r:id="rId12"/>
              </p:custDataLst>
            </p:nvPr>
          </p:nvSpPr>
          <p:spPr bwMode="auto">
            <a:xfrm>
              <a:off x="7441355" y="4047817"/>
              <a:ext cx="252000" cy="252000"/>
            </a:xfrm>
            <a:prstGeom prst="ellipse">
              <a:avLst/>
            </a:prstGeom>
            <a:solidFill>
              <a:schemeClr val="accent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68" name="Oval 267"/>
            <p:cNvSpPr>
              <a:spLocks noChangeAspect="1"/>
            </p:cNvSpPr>
            <p:nvPr>
              <p:custDataLst>
                <p:tags r:id="rId13"/>
              </p:custDataLst>
            </p:nvPr>
          </p:nvSpPr>
          <p:spPr bwMode="auto">
            <a:xfrm>
              <a:off x="6951488" y="4047817"/>
              <a:ext cx="252000" cy="252000"/>
            </a:xfrm>
            <a:prstGeom prst="ellipse">
              <a:avLst/>
            </a:prstGeom>
            <a:solidFill>
              <a:schemeClr val="accent3"/>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74" name="Oval 273"/>
            <p:cNvSpPr>
              <a:spLocks noChangeAspect="1"/>
            </p:cNvSpPr>
            <p:nvPr>
              <p:custDataLst>
                <p:tags r:id="rId14"/>
              </p:custDataLst>
            </p:nvPr>
          </p:nvSpPr>
          <p:spPr bwMode="auto">
            <a:xfrm>
              <a:off x="7190981" y="4047817"/>
              <a:ext cx="252000" cy="252000"/>
            </a:xfrm>
            <a:prstGeom prst="ellipse">
              <a:avLst/>
            </a:prstGeom>
            <a:solidFill>
              <a:schemeClr val="accent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80" name="Oval 279"/>
            <p:cNvSpPr>
              <a:spLocks noChangeAspect="1"/>
            </p:cNvSpPr>
            <p:nvPr>
              <p:custDataLst>
                <p:tags r:id="rId15"/>
              </p:custDataLst>
            </p:nvPr>
          </p:nvSpPr>
          <p:spPr bwMode="auto">
            <a:xfrm>
              <a:off x="5628880" y="4047817"/>
              <a:ext cx="252000" cy="252000"/>
            </a:xfrm>
            <a:prstGeom prst="ellipse">
              <a:avLst/>
            </a:prstGeom>
            <a:solidFill>
              <a:schemeClr val="bg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grpSp>
      <p:grpSp>
        <p:nvGrpSpPr>
          <p:cNvPr id="60" name="Group 59"/>
          <p:cNvGrpSpPr/>
          <p:nvPr/>
        </p:nvGrpSpPr>
        <p:grpSpPr>
          <a:xfrm>
            <a:off x="4524681" y="5792535"/>
            <a:ext cx="4049488" cy="336000"/>
            <a:chOff x="4208298" y="4324523"/>
            <a:chExt cx="4049488" cy="252000"/>
          </a:xfrm>
        </p:grpSpPr>
        <p:cxnSp>
          <p:nvCxnSpPr>
            <p:cNvPr id="255" name="Straight Connector 254"/>
            <p:cNvCxnSpPr/>
            <p:nvPr/>
          </p:nvCxnSpPr>
          <p:spPr bwMode="auto">
            <a:xfrm>
              <a:off x="4208298" y="4450523"/>
              <a:ext cx="4049488" cy="0"/>
            </a:xfrm>
            <a:prstGeom prst="line">
              <a:avLst/>
            </a:prstGeom>
            <a:solidFill>
              <a:schemeClr val="accent2"/>
            </a:solidFill>
            <a:ln w="28575" cap="flat" cmpd="sng" algn="ctr">
              <a:solidFill>
                <a:schemeClr val="bg1">
                  <a:lumMod val="50000"/>
                </a:schemeClr>
              </a:solidFill>
              <a:prstDash val="solid"/>
              <a:round/>
              <a:headEnd type="none" w="sm" len="sm"/>
              <a:tailEnd type="none" w="sm" len="sm"/>
            </a:ln>
            <a:effectLst/>
          </p:spPr>
        </p:cxnSp>
        <p:sp>
          <p:nvSpPr>
            <p:cNvPr id="263" name="Oval 262"/>
            <p:cNvSpPr>
              <a:spLocks noChangeAspect="1"/>
            </p:cNvSpPr>
            <p:nvPr>
              <p:custDataLst>
                <p:tags r:id="rId8"/>
              </p:custDataLst>
            </p:nvPr>
          </p:nvSpPr>
          <p:spPr bwMode="auto">
            <a:xfrm>
              <a:off x="5955454" y="4324523"/>
              <a:ext cx="252000" cy="252000"/>
            </a:xfrm>
            <a:prstGeom prst="ellipse">
              <a:avLst/>
            </a:prstGeom>
            <a:solidFill>
              <a:schemeClr val="accent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69" name="Oval 268"/>
            <p:cNvSpPr>
              <a:spLocks noChangeAspect="1"/>
            </p:cNvSpPr>
            <p:nvPr>
              <p:custDataLst>
                <p:tags r:id="rId9"/>
              </p:custDataLst>
            </p:nvPr>
          </p:nvSpPr>
          <p:spPr bwMode="auto">
            <a:xfrm>
              <a:off x="5084587" y="4324523"/>
              <a:ext cx="252000" cy="252000"/>
            </a:xfrm>
            <a:prstGeom prst="ellipse">
              <a:avLst/>
            </a:prstGeom>
            <a:solidFill>
              <a:schemeClr val="accent3"/>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75" name="Oval 274"/>
            <p:cNvSpPr>
              <a:spLocks noChangeAspect="1"/>
            </p:cNvSpPr>
            <p:nvPr>
              <p:custDataLst>
                <p:tags r:id="rId10"/>
              </p:custDataLst>
            </p:nvPr>
          </p:nvSpPr>
          <p:spPr bwMode="auto">
            <a:xfrm>
              <a:off x="5411166" y="4324523"/>
              <a:ext cx="252000" cy="252000"/>
            </a:xfrm>
            <a:prstGeom prst="ellipse">
              <a:avLst/>
            </a:prstGeom>
            <a:solidFill>
              <a:schemeClr val="accent1"/>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sp>
          <p:nvSpPr>
            <p:cNvPr id="281" name="Oval 280"/>
            <p:cNvSpPr>
              <a:spLocks noChangeAspect="1"/>
            </p:cNvSpPr>
            <p:nvPr>
              <p:custDataLst>
                <p:tags r:id="rId11"/>
              </p:custDataLst>
            </p:nvPr>
          </p:nvSpPr>
          <p:spPr bwMode="auto">
            <a:xfrm>
              <a:off x="4714481" y="4324523"/>
              <a:ext cx="252000" cy="252000"/>
            </a:xfrm>
            <a:prstGeom prst="ellipse">
              <a:avLst/>
            </a:prstGeom>
            <a:solidFill>
              <a:schemeClr val="bg2"/>
            </a:solidFill>
            <a:ln w="635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eaLnBrk="0" hangingPunct="0">
                <a:spcAft>
                  <a:spcPts val="600"/>
                </a:spcAft>
              </a:pPr>
              <a:endParaRPr lang="en-GB" sz="1200" dirty="0" smtClean="0">
                <a:solidFill>
                  <a:srgbClr val="626469"/>
                </a:solidFill>
              </a:endParaRPr>
            </a:p>
          </p:txBody>
        </p:sp>
      </p:grpSp>
      <p:sp>
        <p:nvSpPr>
          <p:cNvPr id="48" name="Footer Placeholder 3"/>
          <p:cNvSpPr>
            <a:spLocks noGrp="1"/>
          </p:cNvSpPr>
          <p:nvPr>
            <p:ph type="ftr" sz="quarter" idx="10"/>
          </p:nvPr>
        </p:nvSpPr>
        <p:spPr>
          <a:xfrm>
            <a:off x="792163" y="6346209"/>
            <a:ext cx="5753100" cy="487212"/>
          </a:xfrm>
        </p:spPr>
        <p:txBody>
          <a:bodyPr>
            <a:normAutofit/>
          </a:bodyPr>
          <a:lstStyle/>
          <a:p>
            <a:pPr>
              <a:defRPr/>
            </a:pPr>
            <a:r>
              <a:rPr lang="en-US" sz="1050" dirty="0" smtClean="0">
                <a:solidFill>
                  <a:srgbClr val="626469"/>
                </a:solidFill>
              </a:rPr>
              <a:t>Classification: PUBLIC</a:t>
            </a:r>
            <a:endParaRPr lang="en-US" sz="1050" dirty="0">
              <a:solidFill>
                <a:srgbClr val="626469"/>
              </a:solidFill>
            </a:endParaRPr>
          </a:p>
        </p:txBody>
      </p:sp>
    </p:spTree>
    <p:extLst>
      <p:ext uri="{BB962C8B-B14F-4D97-AF65-F5344CB8AC3E}">
        <p14:creationId xmlns:p14="http://schemas.microsoft.com/office/powerpoint/2010/main" val="1729225907"/>
      </p:ext>
    </p:extLst>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4"/>
          <p:cNvSpPr>
            <a:spLocks noGrp="1"/>
          </p:cNvSpPr>
          <p:nvPr>
            <p:ph type="title"/>
          </p:nvPr>
        </p:nvSpPr>
        <p:spPr>
          <a:xfrm>
            <a:off x="323300" y="287114"/>
            <a:ext cx="8655600" cy="914096"/>
          </a:xfrm>
        </p:spPr>
        <p:txBody>
          <a:bodyPr/>
          <a:lstStyle/>
          <a:p>
            <a:r>
              <a:rPr lang="en-US" sz="2200" b="1" dirty="0" smtClean="0">
                <a:solidFill>
                  <a:schemeClr val="accent6"/>
                </a:solidFill>
              </a:rPr>
              <a:t>Corn growers in India</a:t>
            </a:r>
            <a:r>
              <a:rPr lang="en-US" sz="2000" b="1" dirty="0">
                <a:solidFill>
                  <a:srgbClr val="626469"/>
                </a:solidFill>
                <a:latin typeface="Helvetica Neue" charset="0"/>
                <a:ea typeface="Helvetica Neue" charset="0"/>
                <a:cs typeface="Helvetica Neue" charset="0"/>
                <a:sym typeface="Helvetica Neue" charset="0"/>
              </a:rPr>
              <a:t/>
            </a:r>
            <a:br>
              <a:rPr lang="en-US" sz="2000" b="1" dirty="0">
                <a:solidFill>
                  <a:srgbClr val="626469"/>
                </a:solidFill>
                <a:latin typeface="Helvetica Neue" charset="0"/>
                <a:ea typeface="Helvetica Neue" charset="0"/>
                <a:cs typeface="Helvetica Neue" charset="0"/>
                <a:sym typeface="Helvetica Neue" charset="0"/>
              </a:rPr>
            </a:br>
            <a:r>
              <a:rPr lang="en-US" sz="2200" b="1" dirty="0" smtClean="0">
                <a:solidFill>
                  <a:schemeClr val="accent6"/>
                </a:solidFill>
              </a:rPr>
              <a:t> </a:t>
            </a:r>
            <a:br>
              <a:rPr lang="en-US" sz="2200" b="1" dirty="0" smtClean="0">
                <a:solidFill>
                  <a:schemeClr val="accent6"/>
                </a:solidFill>
              </a:rPr>
            </a:br>
            <a:endParaRPr lang="en-US" sz="2200" b="1" dirty="0" smtClean="0">
              <a:solidFill>
                <a:schemeClr val="accent6"/>
              </a:solidFill>
            </a:endParaRPr>
          </a:p>
        </p:txBody>
      </p:sp>
      <p:sp>
        <p:nvSpPr>
          <p:cNvPr id="16387" name="Content Placeholder 7"/>
          <p:cNvSpPr>
            <a:spLocks noGrp="1"/>
          </p:cNvSpPr>
          <p:nvPr>
            <p:ph idx="1"/>
          </p:nvPr>
        </p:nvSpPr>
        <p:spPr>
          <a:xfrm>
            <a:off x="270870" y="727454"/>
            <a:ext cx="3484562" cy="2759075"/>
          </a:xfrm>
        </p:spPr>
        <p:txBody>
          <a:bodyPr/>
          <a:lstStyle/>
          <a:p>
            <a:r>
              <a:rPr lang="en-US" sz="1600" dirty="0" smtClean="0"/>
              <a:t>Est. 10 </a:t>
            </a:r>
            <a:r>
              <a:rPr lang="en-US" sz="1600" dirty="0" err="1" smtClean="0"/>
              <a:t>Mn</a:t>
            </a:r>
            <a:r>
              <a:rPr lang="en-US" sz="1600" dirty="0" smtClean="0"/>
              <a:t> corn growers</a:t>
            </a:r>
          </a:p>
          <a:p>
            <a:r>
              <a:rPr lang="en-US" sz="1600" dirty="0" err="1" smtClean="0"/>
              <a:t>Avg</a:t>
            </a:r>
            <a:r>
              <a:rPr lang="en-US" sz="1600" dirty="0" smtClean="0"/>
              <a:t> Land Holding </a:t>
            </a:r>
            <a:r>
              <a:rPr lang="en-US" sz="1600" dirty="0" smtClean="0"/>
              <a:t>~1 </a:t>
            </a:r>
            <a:r>
              <a:rPr lang="en-US" sz="1600" dirty="0" smtClean="0"/>
              <a:t>Ha</a:t>
            </a:r>
          </a:p>
          <a:p>
            <a:r>
              <a:rPr lang="en-US" sz="1600" dirty="0" smtClean="0"/>
              <a:t>Young Farmer</a:t>
            </a:r>
            <a:endParaRPr lang="en-US" sz="1600" dirty="0" smtClean="0"/>
          </a:p>
          <a:p>
            <a:r>
              <a:rPr lang="en-US" sz="1600" dirty="0" smtClean="0"/>
              <a:t>Off farm income is important</a:t>
            </a:r>
          </a:p>
          <a:p>
            <a:r>
              <a:rPr lang="en-US" sz="1600" dirty="0" smtClean="0"/>
              <a:t>Yield level increasing but well below </a:t>
            </a:r>
            <a:r>
              <a:rPr lang="en-US" sz="1600" dirty="0" smtClean="0"/>
              <a:t>developed world</a:t>
            </a:r>
            <a:endParaRPr lang="en-US" sz="1600" dirty="0" smtClean="0"/>
          </a:p>
          <a:p>
            <a:r>
              <a:rPr lang="en-US" sz="1600" dirty="0" smtClean="0"/>
              <a:t>Rural </a:t>
            </a:r>
            <a:r>
              <a:rPr lang="en-US" sz="1600" dirty="0" smtClean="0"/>
              <a:t>labor </a:t>
            </a:r>
            <a:r>
              <a:rPr lang="en-US" sz="1600" dirty="0" smtClean="0"/>
              <a:t>shortage ; increasing labor price </a:t>
            </a:r>
          </a:p>
          <a:p>
            <a:endParaRPr lang="en-US" sz="1600" dirty="0" smtClean="0"/>
          </a:p>
          <a:p>
            <a:endParaRPr lang="en-US" sz="1600" dirty="0" smtClean="0"/>
          </a:p>
        </p:txBody>
      </p:sp>
      <p:pic>
        <p:nvPicPr>
          <p:cNvPr id="16388" name="Picture 2" descr="http://3.bp.blogspot.com/-11RU7Dkw3WU/TgrMcSQxuaI/AAAAAAAACGY/iuf9Yn3ACt8/s320/12_12_2007_2_14_24_AM_farmer_300by20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7488" y="1109663"/>
            <a:ext cx="3321050" cy="2214562"/>
          </a:xfrm>
          <a:prstGeom prst="rect">
            <a:avLst/>
          </a:prstGeom>
          <a:noFill/>
          <a:ln w="25400">
            <a:solidFill>
              <a:schemeClr val="bg2"/>
            </a:solidFill>
            <a:miter lim="800000"/>
            <a:headEnd/>
            <a:tailEnd/>
          </a:ln>
          <a:extLst>
            <a:ext uri="{909E8E84-426E-40DD-AFC4-6F175D3DCCD1}">
              <a14:hiddenFill xmlns:a14="http://schemas.microsoft.com/office/drawing/2010/main">
                <a:solidFill>
                  <a:srgbClr val="FFFFFF"/>
                </a:solidFill>
              </a14:hiddenFill>
            </a:ext>
          </a:extLst>
        </p:spPr>
      </p:pic>
      <p:sp>
        <p:nvSpPr>
          <p:cNvPr id="16389" name="AutoShape 6" descr="http://en.indonesiafinancetoday.com/images/articles/83c36d770571983cabb2a80c1b76f401.jpg"/>
          <p:cNvSpPr>
            <a:spLocks noChangeAspect="1" noChangeArrowheads="1"/>
          </p:cNvSpPr>
          <p:nvPr/>
        </p:nvSpPr>
        <p:spPr bwMode="auto">
          <a:xfrm>
            <a:off x="63500" y="-136525"/>
            <a:ext cx="5715000" cy="380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solidFill>
                <a:srgbClr val="626469"/>
              </a:solidFill>
            </a:endParaRPr>
          </a:p>
        </p:txBody>
      </p:sp>
      <p:sp>
        <p:nvSpPr>
          <p:cNvPr id="16390" name="AutoShape 8" descr="http://en.indonesiafinancetoday.com/images/articles/83c36d770571983cabb2a80c1b76f401.jpg"/>
          <p:cNvSpPr>
            <a:spLocks noChangeAspect="1" noChangeArrowheads="1"/>
          </p:cNvSpPr>
          <p:nvPr/>
        </p:nvSpPr>
        <p:spPr bwMode="auto">
          <a:xfrm>
            <a:off x="63500" y="-136525"/>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solidFill>
                <a:srgbClr val="626469"/>
              </a:solidFill>
            </a:endParaRPr>
          </a:p>
        </p:txBody>
      </p:sp>
      <p:pic>
        <p:nvPicPr>
          <p:cNvPr id="16391" name="Picture 10" descr="83c36d770571983cabb2a80c1b76f401.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18038" y="3252788"/>
            <a:ext cx="4240212" cy="2819400"/>
          </a:xfrm>
          <a:prstGeom prst="rect">
            <a:avLst/>
          </a:prstGeom>
          <a:noFill/>
          <a:ln w="25400">
            <a:solidFill>
              <a:schemeClr val="bg2"/>
            </a:solidFill>
            <a:miter lim="800000"/>
            <a:headEnd/>
            <a:tailEnd/>
          </a:ln>
          <a:extLst>
            <a:ext uri="{909E8E84-426E-40DD-AFC4-6F175D3DCCD1}">
              <a14:hiddenFill xmlns:a14="http://schemas.microsoft.com/office/drawing/2010/main">
                <a:solidFill>
                  <a:srgbClr val="FFFFFF"/>
                </a:solidFill>
              </a14:hiddenFill>
            </a:ext>
          </a:extLst>
        </p:spPr>
      </p:pic>
      <p:sp>
        <p:nvSpPr>
          <p:cNvPr id="16394" name="Footer Placeholder 3"/>
          <p:cNvSpPr>
            <a:spLocks noGrp="1"/>
          </p:cNvSpPr>
          <p:nvPr>
            <p:ph type="ftr" sz="quarter" idx="4294967295"/>
          </p:nvPr>
        </p:nvSpPr>
        <p:spPr>
          <a:xfrm>
            <a:off x="792163" y="6440488"/>
            <a:ext cx="5753100" cy="376237"/>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tabLst>
                <a:tab pos="441325" algn="l"/>
              </a:tabLst>
              <a:defRPr sz="1000">
                <a:solidFill>
                  <a:schemeClr val="tx1"/>
                </a:solidFill>
                <a:latin typeface="Arial" charset="0"/>
              </a:defRPr>
            </a:lvl1pPr>
            <a:lvl2pPr marL="742950" indent="-285750" eaLnBrk="0" hangingPunct="0">
              <a:tabLst>
                <a:tab pos="441325" algn="l"/>
              </a:tabLst>
              <a:defRPr sz="1000">
                <a:solidFill>
                  <a:schemeClr val="tx1"/>
                </a:solidFill>
                <a:latin typeface="Arial" charset="0"/>
              </a:defRPr>
            </a:lvl2pPr>
            <a:lvl3pPr marL="1143000" indent="-228600" eaLnBrk="0" hangingPunct="0">
              <a:tabLst>
                <a:tab pos="441325" algn="l"/>
              </a:tabLst>
              <a:defRPr sz="1000">
                <a:solidFill>
                  <a:schemeClr val="tx1"/>
                </a:solidFill>
                <a:latin typeface="Arial" charset="0"/>
              </a:defRPr>
            </a:lvl3pPr>
            <a:lvl4pPr marL="1600200" indent="-228600" eaLnBrk="0" hangingPunct="0">
              <a:tabLst>
                <a:tab pos="441325" algn="l"/>
              </a:tabLst>
              <a:defRPr sz="1000">
                <a:solidFill>
                  <a:schemeClr val="tx1"/>
                </a:solidFill>
                <a:latin typeface="Arial" charset="0"/>
              </a:defRPr>
            </a:lvl4pPr>
            <a:lvl5pPr marL="2057400" indent="-228600" eaLnBrk="0" hangingPunct="0">
              <a:tabLst>
                <a:tab pos="441325" algn="l"/>
              </a:tabLst>
              <a:defRPr sz="1000">
                <a:solidFill>
                  <a:schemeClr val="tx1"/>
                </a:solidFill>
                <a:latin typeface="Arial" charset="0"/>
              </a:defRPr>
            </a:lvl5pPr>
            <a:lvl6pPr marL="2514600" indent="-228600" eaLnBrk="0" fontAlgn="base" hangingPunct="0">
              <a:spcBef>
                <a:spcPct val="0"/>
              </a:spcBef>
              <a:spcAft>
                <a:spcPct val="0"/>
              </a:spcAft>
              <a:tabLst>
                <a:tab pos="441325" algn="l"/>
              </a:tabLst>
              <a:defRPr sz="1000">
                <a:solidFill>
                  <a:schemeClr val="tx1"/>
                </a:solidFill>
                <a:latin typeface="Arial" charset="0"/>
              </a:defRPr>
            </a:lvl6pPr>
            <a:lvl7pPr marL="2971800" indent="-228600" eaLnBrk="0" fontAlgn="base" hangingPunct="0">
              <a:spcBef>
                <a:spcPct val="0"/>
              </a:spcBef>
              <a:spcAft>
                <a:spcPct val="0"/>
              </a:spcAft>
              <a:tabLst>
                <a:tab pos="441325" algn="l"/>
              </a:tabLst>
              <a:defRPr sz="1000">
                <a:solidFill>
                  <a:schemeClr val="tx1"/>
                </a:solidFill>
                <a:latin typeface="Arial" charset="0"/>
              </a:defRPr>
            </a:lvl7pPr>
            <a:lvl8pPr marL="3429000" indent="-228600" eaLnBrk="0" fontAlgn="base" hangingPunct="0">
              <a:spcBef>
                <a:spcPct val="0"/>
              </a:spcBef>
              <a:spcAft>
                <a:spcPct val="0"/>
              </a:spcAft>
              <a:tabLst>
                <a:tab pos="441325" algn="l"/>
              </a:tabLst>
              <a:defRPr sz="1000">
                <a:solidFill>
                  <a:schemeClr val="tx1"/>
                </a:solidFill>
                <a:latin typeface="Arial" charset="0"/>
              </a:defRPr>
            </a:lvl8pPr>
            <a:lvl9pPr marL="3886200" indent="-228600" eaLnBrk="0" fontAlgn="base" hangingPunct="0">
              <a:spcBef>
                <a:spcPct val="0"/>
              </a:spcBef>
              <a:spcAft>
                <a:spcPct val="0"/>
              </a:spcAft>
              <a:tabLst>
                <a:tab pos="441325" algn="l"/>
              </a:tabLst>
              <a:defRPr sz="1000">
                <a:solidFill>
                  <a:schemeClr val="tx1"/>
                </a:solidFill>
                <a:latin typeface="Arial" charset="0"/>
              </a:defRPr>
            </a:lvl9pPr>
          </a:lstStyle>
          <a:p>
            <a:r>
              <a:rPr lang="en-US" sz="800" smtClean="0">
                <a:solidFill>
                  <a:srgbClr val="FFFFFF"/>
                </a:solidFill>
              </a:rPr>
              <a:t>Classification: Public</a:t>
            </a:r>
            <a:endParaRPr lang="en-US" sz="800" dirty="0">
              <a:solidFill>
                <a:srgbClr val="FFFFFF"/>
              </a:solidFill>
            </a:endParaRPr>
          </a:p>
        </p:txBody>
      </p:sp>
      <p:pic>
        <p:nvPicPr>
          <p:cNvPr id="13" name="Picture 12"/>
          <p:cNvPicPr/>
          <p:nvPr/>
        </p:nvPicPr>
        <p:blipFill>
          <a:blip r:embed="rId5" cstate="print">
            <a:extLst>
              <a:ext uri="{28A0092B-C50C-407E-A947-70E740481C1C}">
                <a14:useLocalDpi xmlns:a14="http://schemas.microsoft.com/office/drawing/2010/main" val="0"/>
              </a:ext>
            </a:extLst>
          </a:blip>
          <a:stretch>
            <a:fillRect/>
          </a:stretch>
        </p:blipFill>
        <p:spPr bwMode="auto">
          <a:xfrm>
            <a:off x="1685925" y="3748624"/>
            <a:ext cx="3302000" cy="2333625"/>
          </a:xfrm>
          <a:prstGeom prst="rect">
            <a:avLst/>
          </a:prstGeom>
          <a:noFill/>
          <a:ln w="28575">
            <a:solidFill>
              <a:schemeClr val="bg2"/>
            </a:solidFill>
          </a:ln>
        </p:spPr>
      </p:pic>
      <p:pic>
        <p:nvPicPr>
          <p:cNvPr id="14" name="Picture 13" descr="C:\Users\u506394\Desktop\DSC_1276.JPG"/>
          <p:cNvPicPr/>
          <p:nvPr/>
        </p:nvPicPr>
        <p:blipFill rotWithShape="1">
          <a:blip r:embed="rId6" cstate="print">
            <a:extLst>
              <a:ext uri="{28A0092B-C50C-407E-A947-70E740481C1C}">
                <a14:useLocalDpi xmlns:a14="http://schemas.microsoft.com/office/drawing/2010/main" val="0"/>
              </a:ext>
            </a:extLst>
          </a:blip>
          <a:srcRect l="23858" r="33356" b="30723"/>
          <a:stretch/>
        </p:blipFill>
        <p:spPr bwMode="auto">
          <a:xfrm>
            <a:off x="3671250" y="1601413"/>
            <a:ext cx="1992585" cy="2239962"/>
          </a:xfrm>
          <a:prstGeom prst="rect">
            <a:avLst/>
          </a:prstGeom>
          <a:noFill/>
          <a:ln w="28575">
            <a:solidFill>
              <a:schemeClr val="bg2"/>
            </a:solidFill>
          </a:ln>
        </p:spPr>
      </p:pic>
      <p:sp>
        <p:nvSpPr>
          <p:cNvPr id="15" name="Footer Placeholder 3"/>
          <p:cNvSpPr txBox="1">
            <a:spLocks/>
          </p:cNvSpPr>
          <p:nvPr/>
        </p:nvSpPr>
        <p:spPr>
          <a:xfrm>
            <a:off x="792163" y="6346209"/>
            <a:ext cx="5753100" cy="487212"/>
          </a:xfrm>
          <a:prstGeom prst="rect">
            <a:avLst/>
          </a:prstGeom>
        </p:spPr>
        <p:txBody>
          <a:bodyPr>
            <a:normAutofit/>
          </a:bodyPr>
          <a:lstStyle>
            <a:defPPr>
              <a:defRPr lang="en-US"/>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defRPr/>
            </a:pPr>
            <a:r>
              <a:rPr lang="en-US" sz="1050" dirty="0" smtClean="0">
                <a:solidFill>
                  <a:srgbClr val="626469"/>
                </a:solidFill>
              </a:rPr>
              <a:t>Classification: PUBLIC</a:t>
            </a:r>
            <a:endParaRPr lang="en-US" sz="1050" dirty="0">
              <a:solidFill>
                <a:srgbClr val="626469"/>
              </a:solidFill>
            </a:endParaRPr>
          </a:p>
        </p:txBody>
      </p:sp>
    </p:spTree>
    <p:extLst>
      <p:ext uri="{BB962C8B-B14F-4D97-AF65-F5344CB8AC3E}">
        <p14:creationId xmlns:p14="http://schemas.microsoft.com/office/powerpoint/2010/main" val="3662652449"/>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vhs9axb6E6miKne99mh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MGp678fC06Erbj2YHWU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9YoeFJjHUmZh52LhuRM0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IgRwSGrzkiJx0W_QgsV5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pVf2VVesUCZZ6bxCZFw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vhs9axb6E6miKne99mh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MGp678fC06Erbj2YHWU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9YoeFJjHUmZh52LhuRM0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_tZEQd.UPUysBq6TCzzHb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IgRwSGrzkiJx0W_QgsV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pVf2VVesUCZZ6bxCZFw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2vhs9axb6E6miKne99mh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MGp678fC06Erbj2YHWULA"/>
</p:tagLst>
</file>

<file path=ppt/tags/tag24.xml><?xml version="1.0" encoding="utf-8"?>
<p:tagLst xmlns:a="http://schemas.openxmlformats.org/drawingml/2006/main" xmlns:r="http://schemas.openxmlformats.org/officeDocument/2006/relationships" xmlns:p="http://schemas.openxmlformats.org/presentationml/2006/main">
  <p:tag name="STYLE" val="TTVUnitofMeasure"/>
  <p:tag name="DATE" val="6/7/2007 6:03:36 PM"/>
  <p:tag name="THINKCELLSHAPEDONOTDELETE" val="pkRC0rBaNKE.dMUMI9eTL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D9RDwgbo021s98DWnt7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JM8TnAvGkiiSfmhDtGY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JM8TnAvGkiiSfmhDtGY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JM8TnAvGkiiSfmhDtGY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tZEQd.UPUysBq6TCzzHb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tZEQd.UPUysBq6TCzzHb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tZEQd.UPUysBq6TCzzHb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IYuU6N17UKJW5ZkiFa4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9YoeFJjHUmZh52LhuRM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IgRwSGrzkiJx0W_QgsV5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pVf2VVesUCZZ6bxCZFwhg"/>
</p:tagLst>
</file>

<file path=ppt/theme/theme1.xml><?xml version="1.0" encoding="utf-8"?>
<a:theme xmlns:a="http://schemas.openxmlformats.org/drawingml/2006/main" name="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10.xml><?xml version="1.0" encoding="utf-8"?>
<a:theme xmlns:a="http://schemas.openxmlformats.org/drawingml/2006/main" name="1_Syngenta: For internal us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11.xml><?xml version="1.0" encoding="utf-8"?>
<a:theme xmlns:a="http://schemas.openxmlformats.org/drawingml/2006/main" name="3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12.xml><?xml version="1.0" encoding="utf-8"?>
<a:theme xmlns:a="http://schemas.openxmlformats.org/drawingml/2006/main" name="Syngenta: For internal us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13.xml><?xml version="1.0" encoding="utf-8"?>
<a:theme xmlns:a="http://schemas.openxmlformats.org/drawingml/2006/main" name="4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14.xml><?xml version="1.0" encoding="utf-8"?>
<a:theme xmlns:a="http://schemas.openxmlformats.org/drawingml/2006/main" name="5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15.xml><?xml version="1.0" encoding="utf-8"?>
<a:theme xmlns:a="http://schemas.openxmlformats.org/drawingml/2006/main" name="6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16.xml><?xml version="1.0" encoding="utf-8"?>
<a:theme xmlns:a="http://schemas.openxmlformats.org/drawingml/2006/main" name="7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17.xml><?xml version="1.0" encoding="utf-8"?>
<a:theme xmlns:a="http://schemas.openxmlformats.org/drawingml/2006/main" name="8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18.xml><?xml version="1.0" encoding="utf-8"?>
<a:theme xmlns:a="http://schemas.openxmlformats.org/drawingml/2006/main" name="9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19.xml><?xml version="1.0" encoding="utf-8"?>
<a:theme xmlns:a="http://schemas.openxmlformats.org/drawingml/2006/main" name="10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2.xml><?xml version="1.0" encoding="utf-8"?>
<a:theme xmlns:a="http://schemas.openxmlformats.org/drawingml/2006/main" name="Syngenta: For external use only">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6350" cap="flat" cmpd="sng" algn="ctr">
          <a:solidFill>
            <a:schemeClr val="accent2"/>
          </a:solidFill>
          <a:prstDash val="solid"/>
          <a:round/>
          <a:headEnd type="none" w="sm" len="sm"/>
          <a:tailEnd type="none" w="sm" len="sm"/>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sz="1000" b="0" i="0" u="none" strike="noStrike" cap="none" normalizeH="0" baseline="0" smtClean="0">
            <a:ln>
              <a:noFill/>
            </a:ln>
            <a:solidFill>
              <a:schemeClr val="tx1"/>
            </a:solidFill>
            <a:effectLst/>
            <a:latin typeface="Arial" charset="0"/>
          </a:defRPr>
        </a:defPPr>
      </a:lstStyle>
    </a:spDef>
    <a:lnDef>
      <a:spPr bwMode="auto">
        <a:solidFill>
          <a:schemeClr val="accent2"/>
        </a:solidFill>
        <a:ln w="6350" cap="flat" cmpd="sng" algn="ctr">
          <a:solidFill>
            <a:schemeClr val="accent2"/>
          </a:solidFill>
          <a:prstDash val="solid"/>
          <a:round/>
          <a:headEnd type="none" w="sm" len="sm"/>
          <a:tailEnd type="none" w="sm" len="sm"/>
        </a:ln>
        <a:effectLst/>
      </a:spPr>
      <a:bodyPr/>
      <a:lstStyle/>
    </a:lnDef>
    <a:txDef>
      <a:spPr>
        <a:noFill/>
      </a:spPr>
      <a:bodyPr wrap="square" rtlCol="0">
        <a:normAutofit/>
      </a:bodyPr>
      <a:lstStyle>
        <a:defPPr>
          <a:spcBef>
            <a:spcPts val="600"/>
          </a:spcBef>
          <a:defRPr sz="2000" dirty="0" err="1" smtClean="0"/>
        </a:defPPr>
      </a:lstStyle>
    </a:txDef>
  </a:objectDefaults>
  <a:extraClrSchemeLst/>
</a:theme>
</file>

<file path=ppt/theme/theme20.xml><?xml version="1.0" encoding="utf-8"?>
<a:theme xmlns:a="http://schemas.openxmlformats.org/drawingml/2006/main" name="11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21.xml><?xml version="1.0" encoding="utf-8"?>
<a:theme xmlns:a="http://schemas.openxmlformats.org/drawingml/2006/main" name="12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22.xml><?xml version="1.0" encoding="utf-8"?>
<a:theme xmlns:a="http://schemas.openxmlformats.org/drawingml/2006/main" name="13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23.xml><?xml version="1.0" encoding="utf-8"?>
<a:theme xmlns:a="http://schemas.openxmlformats.org/drawingml/2006/main" name="14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24.xml><?xml version="1.0" encoding="utf-8"?>
<a:theme xmlns:a="http://schemas.openxmlformats.org/drawingml/2006/main" name="15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yngenta Landscape 2007">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4.xml><?xml version="1.0" encoding="utf-8"?>
<a:theme xmlns:a="http://schemas.openxmlformats.org/drawingml/2006/main" name="1_Syngenta Landscape 2007">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5.xml><?xml version="1.0" encoding="utf-8"?>
<a:theme xmlns:a="http://schemas.openxmlformats.org/drawingml/2006/main" name="1_syngenta">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6.xml><?xml version="1.0" encoding="utf-8"?>
<a:theme xmlns:a="http://schemas.openxmlformats.org/drawingml/2006/main" name="2_Syngenta Landscape 2007">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7.xml><?xml version="1.0" encoding="utf-8"?>
<a:theme xmlns:a="http://schemas.openxmlformats.org/drawingml/2006/main" name="1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8.xml><?xml version="1.0" encoding="utf-8"?>
<a:theme xmlns:a="http://schemas.openxmlformats.org/drawingml/2006/main" name="2_Landscape_Template">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ppt/theme/theme9.xml><?xml version="1.0" encoding="utf-8"?>
<a:theme xmlns:a="http://schemas.openxmlformats.org/drawingml/2006/main" name="Project Charter - Brand Optimization in Corn APAC_25 Apr 2012">
  <a:themeElements>
    <a:clrScheme name="Syngenta 2007">
      <a:dk1>
        <a:srgbClr val="626469"/>
      </a:dk1>
      <a:lt1>
        <a:srgbClr val="FFFFFF"/>
      </a:lt1>
      <a:dk2>
        <a:srgbClr val="5F7800"/>
      </a:dk2>
      <a:lt2>
        <a:srgbClr val="FFB400"/>
      </a:lt2>
      <a:accent1>
        <a:srgbClr val="00A0BE"/>
      </a:accent1>
      <a:accent2>
        <a:srgbClr val="AAB400"/>
      </a:accent2>
      <a:accent3>
        <a:srgbClr val="EB8200"/>
      </a:accent3>
      <a:accent4>
        <a:srgbClr val="82C8DC"/>
      </a:accent4>
      <a:accent5>
        <a:srgbClr val="FFB400"/>
      </a:accent5>
      <a:accent6>
        <a:srgbClr val="5F7800"/>
      </a:accent6>
      <a:hlink>
        <a:srgbClr val="EB8200"/>
      </a:hlink>
      <a:folHlink>
        <a:srgbClr val="82C8DC"/>
      </a:folHlink>
    </a:clrScheme>
    <a:fontScheme name="Printout Syngenta 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2"/>
        </a:solidFill>
        <a:ln w="6350" cap="flat" cmpd="sng" algn="ctr">
          <a:solidFill>
            <a:schemeClr val="folHlink"/>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ts val="60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normAutofit/>
      </a:bodyPr>
      <a:lstStyle>
        <a:defPPr>
          <a:spcBef>
            <a:spcPts val="0"/>
          </a:spcBef>
          <a:spcAft>
            <a:spcPts val="600"/>
          </a:spcAft>
          <a:defRPr sz="2000" dirty="0" err="1" smtClean="0"/>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FC372BF083BD6409BB8DD4C39E86DCA" ma:contentTypeVersion="0" ma:contentTypeDescription="Create a new document." ma:contentTypeScope="" ma:versionID="e3535607e81a7773fdd57e2f480dd00c">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FA3B75-6D22-45F1-9518-BD6F2CB5F9C0}">
  <ds:schemaRefs>
    <ds:schemaRef ds:uri="http://schemas.microsoft.com/sharepoint/v3/contenttype/forms"/>
  </ds:schemaRefs>
</ds:datastoreItem>
</file>

<file path=customXml/itemProps2.xml><?xml version="1.0" encoding="utf-8"?>
<ds:datastoreItem xmlns:ds="http://schemas.openxmlformats.org/officeDocument/2006/customXml" ds:itemID="{FD2C42A7-9EFB-408A-BB03-99B953EEFD4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8C80774B-9CE8-46DB-9657-408C9F8D01D7}">
  <ds:schemaRefs>
    <ds:schemaRef ds:uri="http://purl.org/dc/terms/"/>
    <ds:schemaRef ds:uri="http://purl.org/dc/dcmitype/"/>
    <ds:schemaRef ds:uri="http://schemas.microsoft.com/office/2006/documentManagement/types"/>
    <ds:schemaRef ds:uri="http://purl.org/dc/elements/1.1/"/>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Landscape_Template</Template>
  <TotalTime>11626</TotalTime>
  <Words>1531</Words>
  <Application>Microsoft Office PowerPoint</Application>
  <PresentationFormat>On-screen Show (4:3)</PresentationFormat>
  <Paragraphs>260</Paragraphs>
  <Slides>14</Slides>
  <Notes>10</Notes>
  <HiddenSlides>0</HiddenSlides>
  <MMClips>0</MMClips>
  <ScaleCrop>false</ScaleCrop>
  <HeadingPairs>
    <vt:vector size="6" baseType="variant">
      <vt:variant>
        <vt:lpstr>Theme</vt:lpstr>
      </vt:variant>
      <vt:variant>
        <vt:i4>24</vt:i4>
      </vt:variant>
      <vt:variant>
        <vt:lpstr>Embedded OLE Servers</vt:lpstr>
      </vt:variant>
      <vt:variant>
        <vt:i4>1</vt:i4>
      </vt:variant>
      <vt:variant>
        <vt:lpstr>Slide Titles</vt:lpstr>
      </vt:variant>
      <vt:variant>
        <vt:i4>14</vt:i4>
      </vt:variant>
    </vt:vector>
  </HeadingPairs>
  <TitlesOfParts>
    <vt:vector size="39" baseType="lpstr">
      <vt:lpstr>Landscape_Template</vt:lpstr>
      <vt:lpstr>Syngenta: For external use only</vt:lpstr>
      <vt:lpstr>Syngenta Landscape 2007</vt:lpstr>
      <vt:lpstr>1_Syngenta Landscape 2007</vt:lpstr>
      <vt:lpstr>1_syngenta</vt:lpstr>
      <vt:lpstr>2_Syngenta Landscape 2007</vt:lpstr>
      <vt:lpstr>1_Landscape_Template</vt:lpstr>
      <vt:lpstr>2_Landscape_Template</vt:lpstr>
      <vt:lpstr>Project Charter - Brand Optimization in Corn APAC_25 Apr 2012</vt:lpstr>
      <vt:lpstr>1_Syngenta: For internal use</vt:lpstr>
      <vt:lpstr>3_Landscape_Template</vt:lpstr>
      <vt:lpstr>Syngenta: For internal use</vt:lpstr>
      <vt:lpstr>4_Landscape_Template</vt:lpstr>
      <vt:lpstr>5_Landscape_Template</vt:lpstr>
      <vt:lpstr>6_Landscape_Template</vt:lpstr>
      <vt:lpstr>7_Landscape_Template</vt:lpstr>
      <vt:lpstr>8_Landscape_Template</vt:lpstr>
      <vt:lpstr>9_Landscape_Template</vt:lpstr>
      <vt:lpstr>10_Landscape_Template</vt:lpstr>
      <vt:lpstr>11_Landscape_Template</vt:lpstr>
      <vt:lpstr>12_Landscape_Template</vt:lpstr>
      <vt:lpstr>13_Landscape_Template</vt:lpstr>
      <vt:lpstr>14_Landscape_Template</vt:lpstr>
      <vt:lpstr>15_Landscape_Template</vt:lpstr>
      <vt:lpstr>think-cell Slide</vt:lpstr>
      <vt:lpstr>Syngenta’s contribution to the corn business in India </vt:lpstr>
      <vt:lpstr>A leading agri-business - Broadest crop exposure in the industry</vt:lpstr>
      <vt:lpstr>PowerPoint Presentation</vt:lpstr>
      <vt:lpstr>We are spread across India</vt:lpstr>
      <vt:lpstr>The big picture  Yields have advanced – but more is needed</vt:lpstr>
      <vt:lpstr> Population growth, per capita GDP rise: Major Demand Drivers</vt:lpstr>
      <vt:lpstr>Government aim for self sufficiency: requires substantial yield increase with no area expansion</vt:lpstr>
      <vt:lpstr>Corn: Wide differences in technology use</vt:lpstr>
      <vt:lpstr>Corn growers in India   </vt:lpstr>
      <vt:lpstr>India Grower issues: multiple and driven by small farm size </vt:lpstr>
      <vt:lpstr>Technology is transforming corn growing in India</vt:lpstr>
      <vt:lpstr>PowerPoint Presentation</vt:lpstr>
      <vt:lpstr>The Good Growth Plan</vt:lpstr>
      <vt:lpstr>PowerPoint Presentation</vt:lpstr>
    </vt:vector>
  </TitlesOfParts>
  <Company>Syngent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u524783</dc:creator>
  <cp:lastModifiedBy>Syngenta</cp:lastModifiedBy>
  <cp:revision>1568</cp:revision>
  <dcterms:created xsi:type="dcterms:W3CDTF">2010-09-27T11:25:27Z</dcterms:created>
  <dcterms:modified xsi:type="dcterms:W3CDTF">2014-03-20T07:2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C372BF083BD6409BB8DD4C39E86DCA</vt:lpwstr>
  </property>
</Properties>
</file>